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pn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63" r:id="rId2"/>
  </p:sldMasterIdLst>
  <p:notesMasterIdLst>
    <p:notesMasterId r:id="rId16"/>
  </p:notesMasterIdLst>
  <p:sldIdLst>
    <p:sldId id="256" r:id="rId3"/>
    <p:sldId id="318" r:id="rId4"/>
    <p:sldId id="267" r:id="rId5"/>
    <p:sldId id="319" r:id="rId6"/>
    <p:sldId id="281" r:id="rId7"/>
    <p:sldId id="260" r:id="rId8"/>
    <p:sldId id="273" r:id="rId9"/>
    <p:sldId id="262" r:id="rId10"/>
    <p:sldId id="320" r:id="rId11"/>
    <p:sldId id="258" r:id="rId12"/>
    <p:sldId id="321" r:id="rId13"/>
    <p:sldId id="279" r:id="rId14"/>
    <p:sldId id="278" r:id="rId15"/>
  </p:sldIdLst>
  <p:sldSz cx="12192000" cy="6858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3975"/>
    <a:srgbClr val="D686A1"/>
    <a:srgbClr val="E6E6E6"/>
    <a:srgbClr val="CDBF97"/>
    <a:srgbClr val="8D7545"/>
    <a:srgbClr val="ECE8E5"/>
    <a:srgbClr val="E4CBCB"/>
    <a:srgbClr val="A88755"/>
    <a:srgbClr val="1F2020"/>
    <a:srgbClr val="263B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088" autoAdjust="0"/>
    <p:restoredTop sz="94660"/>
  </p:normalViewPr>
  <p:slideViewPr>
    <p:cSldViewPr snapToGrid="0">
      <p:cViewPr varScale="1">
        <p:scale>
          <a:sx n="64" d="100"/>
          <a:sy n="64" d="100"/>
        </p:scale>
        <p:origin x="72" y="366"/>
      </p:cViewPr>
      <p:guideLst>
        <p:guide orient="horz" pos="2160"/>
        <p:guide pos="3840"/>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577D22-AD28-43FC-8EB4-B134A7D334C3}" type="datetimeFigureOut">
              <a:rPr lang="zh-CN" altLang="en-US" smtClean="0"/>
              <a:t>2021/10/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8C8EFA-96ED-4A18-B46D-8BDC030E3AF6}" type="slidenum">
              <a:rPr lang="zh-CN" altLang="en-US" smtClean="0"/>
              <a:t>‹#›</a:t>
            </a:fld>
            <a:endParaRPr lang="zh-CN" altLang="en-US"/>
          </a:p>
        </p:txBody>
      </p:sp>
    </p:spTree>
    <p:extLst>
      <p:ext uri="{BB962C8B-B14F-4D97-AF65-F5344CB8AC3E}">
        <p14:creationId xmlns:p14="http://schemas.microsoft.com/office/powerpoint/2010/main" val="42163643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0124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
        <p:cNvGrpSpPr/>
        <p:nvPr/>
      </p:nvGrpSpPr>
      <p:grpSpPr>
        <a:xfrm>
          <a:off x="0" y="0"/>
          <a:ext cx="0" cy="0"/>
          <a:chOff x="0" y="0"/>
          <a:chExt cx="0" cy="0"/>
        </a:xfrm>
      </p:grpSpPr>
      <p:sp>
        <p:nvSpPr>
          <p:cNvPr id="122" name="Google Shape;122;g8f82a177b6_0_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3" name="Google Shape;123;g8f82a177b6_0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1368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7"/>
        <p:cNvGrpSpPr/>
        <p:nvPr/>
      </p:nvGrpSpPr>
      <p:grpSpPr>
        <a:xfrm>
          <a:off x="0" y="0"/>
          <a:ext cx="0" cy="0"/>
          <a:chOff x="0" y="0"/>
          <a:chExt cx="0" cy="0"/>
        </a:xfrm>
      </p:grpSpPr>
      <p:sp>
        <p:nvSpPr>
          <p:cNvPr id="818" name="Google Shape;818;g91a1c4c4ae_0_3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19" name="Google Shape;819;g91a1c4c4ae_0_3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56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9617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Photos by rawpixel.com /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7295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429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9"/>
        <p:cNvGrpSpPr/>
        <p:nvPr/>
      </p:nvGrpSpPr>
      <p:grpSpPr>
        <a:xfrm>
          <a:off x="0" y="0"/>
          <a:ext cx="0" cy="0"/>
          <a:chOff x="0" y="0"/>
          <a:chExt cx="0" cy="0"/>
        </a:xfrm>
      </p:grpSpPr>
      <p:sp>
        <p:nvSpPr>
          <p:cNvPr id="1410" name="Google Shape;1410;g925e4de252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11" name="Google Shape;1411;g925e4de252_0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8f98426d52_0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5" name="Google Shape;185;g8f98426d52_0_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121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495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00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www.1ppt.com/moban/"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1A2541-C66C-4680-968E-4CFD21EFF52D}"/>
              </a:ext>
            </a:extLst>
          </p:cNvPr>
          <p:cNvGraphicFramePr>
            <a:graphicFrameLocks noChangeAspect="1"/>
          </p:cNvGraphicFramePr>
          <p:nvPr userDrawn="1">
            <p:custDataLst>
              <p:tags r:id="rId2"/>
            </p:custDataLst>
            <p:extLst>
              <p:ext uri="{D42A27DB-BD31-4B8C-83A1-F6EECF244321}">
                <p14:modId xmlns:p14="http://schemas.microsoft.com/office/powerpoint/2010/main" val="273806299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79" name="think-cell Slide" r:id="rId5" imgW="383" imgH="384" progId="TCLayout.ActiveDocument.1">
                  <p:embed/>
                </p:oleObj>
              </mc:Choice>
              <mc:Fallback>
                <p:oleObj name="think-cell Slide" r:id="rId5" imgW="383" imgH="384" progId="TCLayout.ActiveDocument.1">
                  <p:embed/>
                  <p:pic>
                    <p:nvPicPr>
                      <p:cNvPr id="8" name="Object 7" hidden="1">
                        <a:extLst>
                          <a:ext uri="{FF2B5EF4-FFF2-40B4-BE49-F238E27FC236}">
                            <a16:creationId xmlns:a16="http://schemas.microsoft.com/office/drawing/2014/main" id="{FC1A2541-C66C-4680-968E-4CFD21EFF52D}"/>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CC127CB-45BF-4D09-B501-F4C759F6445D}"/>
              </a:ext>
            </a:extLst>
          </p:cNvPr>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60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CC5F3DBF-45AF-4497-B142-6B38DF4B36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8DDFBC-1843-4C12-9D5E-451430B7161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ADFB6B-EF4D-40B0-B7EB-BB5B7BCA65D9}"/>
              </a:ext>
            </a:extLst>
          </p:cNvPr>
          <p:cNvSpPr>
            <a:spLocks noGrp="1"/>
          </p:cNvSpPr>
          <p:nvPr>
            <p:ph type="dt" sz="half" idx="10"/>
          </p:nvPr>
        </p:nvSpPr>
        <p:spPr>
          <a:xfrm>
            <a:off x="838200" y="635635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4F285D75-D480-429C-B8A5-568CD5D6CEEA}"/>
              </a:ext>
            </a:extLst>
          </p:cNvPr>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1BA913B-0C70-402E-BF80-D38C98E022EB}"/>
              </a:ext>
            </a:extLst>
          </p:cNvPr>
          <p:cNvSpPr>
            <a:spLocks noGrp="1"/>
          </p:cNvSpPr>
          <p:nvPr>
            <p:ph type="sldNum" sz="quarter" idx="12"/>
          </p:nvPr>
        </p:nvSpPr>
        <p:spPr>
          <a:xfrm>
            <a:off x="9788076" y="6400415"/>
            <a:ext cx="388247" cy="276999"/>
          </a:xfrm>
          <a:prstGeom prst="rect">
            <a:avLst/>
          </a:prstGeom>
        </p:spPr>
        <p:txBody>
          <a:bodyPr/>
          <a:lstStyle/>
          <a:p>
            <a:fld id="{B84D2E29-67F4-44D8-B0E3-F54815B4F123}" type="slidenum">
              <a:rPr lang="en-US" smtClean="0"/>
              <a:t>‹#›</a:t>
            </a:fld>
            <a:endParaRPr lang="en-US"/>
          </a:p>
        </p:txBody>
      </p:sp>
    </p:spTree>
    <p:extLst>
      <p:ext uri="{BB962C8B-B14F-4D97-AF65-F5344CB8AC3E}">
        <p14:creationId xmlns:p14="http://schemas.microsoft.com/office/powerpoint/2010/main" val="2360347105"/>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609600" y="1600203"/>
            <a:ext cx="10972800" cy="4525963"/>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3"/>
            <a:ext cx="2844800" cy="365125"/>
          </a:xfrm>
          <a:prstGeom prst="rect">
            <a:avLst/>
          </a:prstGeom>
        </p:spPr>
        <p:txBody>
          <a:bodyPr/>
          <a:lstStyle/>
          <a:p>
            <a:pPr defTabSz="914400"/>
            <a:fld id="{2E3AAC11-D570-4EA9-AFC0-30FB72BA45EB}" type="datetimeFigureOut">
              <a:rPr lang="zh-CN" altLang="en-US" smtClean="0">
                <a:solidFill>
                  <a:prstClr val="black"/>
                </a:solidFill>
              </a:rPr>
              <a:pPr defTabSz="914400"/>
              <a:t>2021/10/29</a:t>
            </a:fld>
            <a:endParaRPr lang="zh-CN" altLang="en-US">
              <a:solidFill>
                <a:prstClr val="black"/>
              </a:solidFill>
            </a:endParaRPr>
          </a:p>
        </p:txBody>
      </p:sp>
      <p:sp>
        <p:nvSpPr>
          <p:cNvPr id="5" name="页脚占位符 4"/>
          <p:cNvSpPr>
            <a:spLocks noGrp="1"/>
          </p:cNvSpPr>
          <p:nvPr>
            <p:ph type="ftr" sz="quarter" idx="11"/>
          </p:nvPr>
        </p:nvSpPr>
        <p:spPr>
          <a:xfrm>
            <a:off x="4165600" y="6356353"/>
            <a:ext cx="3860800" cy="365125"/>
          </a:xfrm>
          <a:prstGeom prst="rect">
            <a:avLst/>
          </a:prstGeom>
        </p:spPr>
        <p:txBody>
          <a:bodyPr/>
          <a:lstStyle/>
          <a:p>
            <a:pPr defTabSz="914400"/>
            <a:endParaRPr lang="zh-CN" altLang="en-US">
              <a:solidFill>
                <a:prstClr val="black"/>
              </a:solidFill>
            </a:endParaRPr>
          </a:p>
        </p:txBody>
      </p:sp>
      <p:sp>
        <p:nvSpPr>
          <p:cNvPr id="6" name="灯片编号占位符 5"/>
          <p:cNvSpPr>
            <a:spLocks noGrp="1"/>
          </p:cNvSpPr>
          <p:nvPr>
            <p:ph type="sldNum" sz="quarter" idx="12"/>
          </p:nvPr>
        </p:nvSpPr>
        <p:spPr>
          <a:xfrm>
            <a:off x="8737600" y="6356353"/>
            <a:ext cx="2844800" cy="365125"/>
          </a:xfrm>
          <a:prstGeom prst="rect">
            <a:avLst/>
          </a:prstGeom>
        </p:spPr>
        <p:txBody>
          <a:bodyPr/>
          <a:lstStyle/>
          <a:p>
            <a:pPr defTabSz="914400"/>
            <a:fld id="{55ECCFAA-F4FB-487C-9F1E-C8836D0C3DC9}" type="slidenum">
              <a:rPr lang="zh-CN" altLang="en-US" smtClean="0">
                <a:solidFill>
                  <a:prstClr val="black"/>
                </a:solidFill>
              </a:rPr>
              <a:pPr defTabSz="914400"/>
              <a:t>‹#›</a:t>
            </a:fld>
            <a:endParaRPr lang="zh-CN" altLang="en-US">
              <a:solidFill>
                <a:prstClr val="black"/>
              </a:solidFill>
            </a:endParaRPr>
          </a:p>
        </p:txBody>
      </p:sp>
    </p:spTree>
    <p:extLst>
      <p:ext uri="{BB962C8B-B14F-4D97-AF65-F5344CB8AC3E}">
        <p14:creationId xmlns:p14="http://schemas.microsoft.com/office/powerpoint/2010/main" val="1314103647"/>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3"/>
            <a:ext cx="2844800" cy="365125"/>
          </a:xfrm>
          <a:prstGeom prst="rect">
            <a:avLst/>
          </a:prstGeom>
        </p:spPr>
        <p:txBody>
          <a:bodyPr/>
          <a:lstStyle/>
          <a:p>
            <a:pPr defTabSz="914400"/>
            <a:fld id="{2E3AAC11-D570-4EA9-AFC0-30FB72BA45EB}" type="datetimeFigureOut">
              <a:rPr lang="zh-CN" altLang="en-US" smtClean="0">
                <a:solidFill>
                  <a:prstClr val="black"/>
                </a:solidFill>
              </a:rPr>
              <a:pPr defTabSz="914400"/>
              <a:t>2021/10/29</a:t>
            </a:fld>
            <a:endParaRPr lang="zh-CN" altLang="en-US">
              <a:solidFill>
                <a:prstClr val="black"/>
              </a:solidFill>
            </a:endParaRPr>
          </a:p>
        </p:txBody>
      </p:sp>
      <p:sp>
        <p:nvSpPr>
          <p:cNvPr id="5" name="页脚占位符 4"/>
          <p:cNvSpPr>
            <a:spLocks noGrp="1"/>
          </p:cNvSpPr>
          <p:nvPr>
            <p:ph type="ftr" sz="quarter" idx="11"/>
          </p:nvPr>
        </p:nvSpPr>
        <p:spPr>
          <a:xfrm>
            <a:off x="4165600" y="6356353"/>
            <a:ext cx="3860800" cy="365125"/>
          </a:xfrm>
          <a:prstGeom prst="rect">
            <a:avLst/>
          </a:prstGeom>
        </p:spPr>
        <p:txBody>
          <a:bodyPr/>
          <a:lstStyle/>
          <a:p>
            <a:pPr defTabSz="914400"/>
            <a:endParaRPr lang="zh-CN" altLang="en-US">
              <a:solidFill>
                <a:prstClr val="black"/>
              </a:solidFill>
            </a:endParaRPr>
          </a:p>
        </p:txBody>
      </p:sp>
      <p:sp>
        <p:nvSpPr>
          <p:cNvPr id="6" name="灯片编号占位符 5"/>
          <p:cNvSpPr>
            <a:spLocks noGrp="1"/>
          </p:cNvSpPr>
          <p:nvPr>
            <p:ph type="sldNum" sz="quarter" idx="12"/>
          </p:nvPr>
        </p:nvSpPr>
        <p:spPr>
          <a:xfrm>
            <a:off x="8737600" y="6356353"/>
            <a:ext cx="2844800" cy="365125"/>
          </a:xfrm>
          <a:prstGeom prst="rect">
            <a:avLst/>
          </a:prstGeom>
        </p:spPr>
        <p:txBody>
          <a:bodyPr/>
          <a:lstStyle/>
          <a:p>
            <a:pPr defTabSz="914400"/>
            <a:fld id="{55ECCFAA-F4FB-487C-9F1E-C8836D0C3DC9}" type="slidenum">
              <a:rPr lang="zh-CN" altLang="en-US" smtClean="0">
                <a:solidFill>
                  <a:prstClr val="black"/>
                </a:solidFill>
              </a:rPr>
              <a:pPr defTabSz="914400"/>
              <a:t>‹#›</a:t>
            </a:fld>
            <a:endParaRPr lang="zh-CN" altLang="en-US">
              <a:solidFill>
                <a:prstClr val="black"/>
              </a:solidFill>
            </a:endParaRPr>
          </a:p>
        </p:txBody>
      </p:sp>
    </p:spTree>
    <p:extLst>
      <p:ext uri="{BB962C8B-B14F-4D97-AF65-F5344CB8AC3E}">
        <p14:creationId xmlns:p14="http://schemas.microsoft.com/office/powerpoint/2010/main" val="872221628"/>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216534"/>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Single Corner Rounded 3">
            <a:extLst>
              <a:ext uri="{FF2B5EF4-FFF2-40B4-BE49-F238E27FC236}">
                <a16:creationId xmlns:a16="http://schemas.microsoft.com/office/drawing/2014/main" id="{1A405EED-F690-4A11-92A7-2981DA55D4FE}"/>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DBA2064D-F3C3-4247-BB0E-3A8B9A2204D7}"/>
              </a:ext>
            </a:extLst>
          </p:cNvPr>
          <p:cNvGraphicFramePr>
            <a:graphicFrameLocks noChangeAspect="1"/>
          </p:cNvGraphicFramePr>
          <p:nvPr userDrawn="1">
            <p:custDataLst>
              <p:tags r:id="rId2"/>
            </p:custDataLst>
            <p:extLst>
              <p:ext uri="{D42A27DB-BD31-4B8C-83A1-F6EECF244321}">
                <p14:modId xmlns:p14="http://schemas.microsoft.com/office/powerpoint/2010/main" val="31349151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103" name="think-cell Slide" r:id="rId5" imgW="383" imgH="384" progId="TCLayout.ActiveDocument.1">
                  <p:embed/>
                </p:oleObj>
              </mc:Choice>
              <mc:Fallback>
                <p:oleObj name="think-cell Slide" r:id="rId5" imgW="383" imgH="384" progId="TCLayout.ActiveDocument.1">
                  <p:embed/>
                  <p:pic>
                    <p:nvPicPr>
                      <p:cNvPr id="8" name="Object 7" hidden="1">
                        <a:extLst>
                          <a:ext uri="{FF2B5EF4-FFF2-40B4-BE49-F238E27FC236}">
                            <a16:creationId xmlns:a16="http://schemas.microsoft.com/office/drawing/2014/main" id="{DBA2064D-F3C3-4247-BB0E-3A8B9A2204D7}"/>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6F16FD-2C53-403B-BF33-81984B8570A7}"/>
              </a:ext>
            </a:extLst>
          </p:cNvPr>
          <p:cNvSpPr/>
          <p:nvPr userDrawn="1">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7634B0F8-76FB-42F2-8E67-4517D27F0A9D}"/>
              </a:ext>
            </a:extLst>
          </p:cNvPr>
          <p:cNvSpPr>
            <a:spLocks noGrp="1"/>
          </p:cNvSpPr>
          <p:nvPr>
            <p:ph type="title"/>
          </p:nvPr>
        </p:nvSpPr>
        <p:spPr>
          <a:xfrm>
            <a:off x="609600" y="365126"/>
            <a:ext cx="10972800" cy="775612"/>
          </a:xfrm>
        </p:spPr>
        <p:txBody>
          <a:bodyPr lIns="0" tIns="0" rIns="0" bIns="0" anchor="ctr"/>
          <a:lstStyle/>
          <a:p>
            <a:r>
              <a:rPr lang="en-US"/>
              <a:t>Click to edit Master title style</a:t>
            </a:r>
          </a:p>
        </p:txBody>
      </p:sp>
      <p:sp>
        <p:nvSpPr>
          <p:cNvPr id="3" name="Content Placeholder 2">
            <a:extLst>
              <a:ext uri="{FF2B5EF4-FFF2-40B4-BE49-F238E27FC236}">
                <a16:creationId xmlns:a16="http://schemas.microsoft.com/office/drawing/2014/main" id="{9B9F3021-AB9D-4B2B-987A-B25B40257112}"/>
              </a:ext>
            </a:extLst>
          </p:cNvPr>
          <p:cNvSpPr>
            <a:spLocks noGrp="1"/>
          </p:cNvSpPr>
          <p:nvPr>
            <p:ph idx="1"/>
          </p:nvPr>
        </p:nvSpPr>
        <p:spPr>
          <a:xfrm>
            <a:off x="609600" y="1330859"/>
            <a:ext cx="10972800" cy="484610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BF14A7C7-1984-4854-9D29-7402A14F46DF}"/>
              </a:ext>
            </a:extLst>
          </p:cNvPr>
          <p:cNvSpPr>
            <a:spLocks noGrp="1"/>
          </p:cNvSpPr>
          <p:nvPr>
            <p:ph type="sldNum" sz="quarter" idx="4"/>
          </p:nvPr>
        </p:nvSpPr>
        <p:spPr>
          <a:xfrm>
            <a:off x="11648192" y="6369819"/>
            <a:ext cx="388247"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2150030314"/>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extLst>
    <p:ext uri="{DCECCB84-F9BA-43D5-87BE-67443E8EF086}">
      <p15:sldGuideLst xmlns:p15="http://schemas.microsoft.com/office/powerpoint/2012/main">
        <p15:guide id="1" orient="horz" pos="840">
          <p15:clr>
            <a:srgbClr val="FBAE40"/>
          </p15:clr>
        </p15:guide>
        <p15:guide id="2" pos="7296">
          <p15:clr>
            <a:srgbClr val="FBAE40"/>
          </p15:clr>
        </p15:guide>
        <p15:guide id="3" pos="3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68349306"/>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4248662603"/>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538888516"/>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883847458"/>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973408268"/>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B84D2E29-67F4-44D8-B0E3-F54815B4F123}" type="slidenum">
              <a:rPr lang="en-US" smtClean="0"/>
              <a:pPr/>
              <a:t>‹#›</a:t>
            </a:fld>
            <a:endParaRPr lang="en-US" dirty="0"/>
          </a:p>
        </p:txBody>
      </p:sp>
      <p:sp>
        <p:nvSpPr>
          <p:cNvPr id="5" name="TextBox 4"/>
          <p:cNvSpPr txBox="1"/>
          <p:nvPr userDrawn="1"/>
        </p:nvSpPr>
        <p:spPr>
          <a:xfrm>
            <a:off x="2231555" y="6858001"/>
            <a:ext cx="1800200" cy="123111"/>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tabLst/>
              <a:defRPr/>
            </a:pPr>
            <a:r>
              <a:rPr kumimoji="0" lang="en-US" altLang="zh-CN" sz="100" b="0" i="0" u="none" strike="noStrike" kern="0" cap="none" spc="0" normalizeH="0" baseline="0" noProof="0" dirty="0">
                <a:ln>
                  <a:noFill/>
                </a:ln>
                <a:solidFill>
                  <a:prstClr val="black"/>
                </a:solidFill>
                <a:effectLst/>
                <a:uLnTx/>
                <a:uFillTx/>
                <a:hlinkClick r:id="rId2"/>
              </a:rPr>
              <a:t>PPT</a:t>
            </a:r>
            <a:r>
              <a:rPr kumimoji="0" lang="zh-CN" altLang="en-US" sz="100" b="0" i="0" u="none" strike="noStrike" kern="0" cap="none" spc="0" normalizeH="0" baseline="0" noProof="0" dirty="0">
                <a:ln>
                  <a:noFill/>
                </a:ln>
                <a:solidFill>
                  <a:prstClr val="black"/>
                </a:solidFill>
                <a:effectLst/>
                <a:uLnTx/>
                <a:uFillTx/>
                <a:hlinkClick r:id="rId2"/>
              </a:rPr>
              <a:t>模板</a:t>
            </a:r>
            <a:r>
              <a:rPr kumimoji="0" lang="zh-CN" altLang="en-US" sz="100" b="0" i="0" u="none" strike="noStrike" kern="0" cap="none" spc="0" normalizeH="0" baseline="0" noProof="0" dirty="0">
                <a:ln>
                  <a:noFill/>
                </a:ln>
                <a:solidFill>
                  <a:prstClr val="black"/>
                </a:solidFill>
                <a:effectLst/>
                <a:uLnTx/>
                <a:uFillTx/>
              </a:rPr>
              <a:t> </a:t>
            </a:r>
            <a:r>
              <a:rPr kumimoji="0" lang="en-US" altLang="zh-CN" sz="100" b="0" i="0" u="none" strike="noStrike" kern="0" cap="none" spc="0" normalizeH="0" baseline="0" noProof="0" dirty="0">
                <a:ln>
                  <a:noFill/>
                </a:ln>
                <a:solidFill>
                  <a:prstClr val="black"/>
                </a:solidFill>
                <a:effectLst/>
                <a:uLnTx/>
                <a:uFillTx/>
              </a:rPr>
              <a:t>http://www.1ppt.com/moban/</a:t>
            </a:r>
            <a:r>
              <a:rPr kumimoji="0" lang="zh-CN" altLang="en-US" sz="100" b="0" i="0" u="none" strike="noStrike" kern="0" cap="none" spc="0" normalizeH="0" baseline="0" noProof="0" dirty="0">
                <a:ln>
                  <a:noFill/>
                </a:ln>
                <a:solidFill>
                  <a:prstClr val="black"/>
                </a:solidFill>
                <a:effectLst/>
                <a:uLnTx/>
                <a:uFillTx/>
              </a:rPr>
              <a:t> </a:t>
            </a:r>
            <a:endParaRPr kumimoji="0" lang="en-US" altLang="zh-CN" sz="1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168150519"/>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灯片编号占位符 2"/>
          <p:cNvSpPr>
            <a:spLocks noGrp="1"/>
          </p:cNvSpPr>
          <p:nvPr>
            <p:ph type="sldNum" sz="quarter" idx="10"/>
          </p:nvPr>
        </p:nvSpPr>
        <p:spPr/>
        <p:txBody>
          <a:body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2302587927"/>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59F4C5-B0B1-4297-BAA0-7E0E72AFC756}"/>
              </a:ext>
            </a:extLst>
          </p:cNvPr>
          <p:cNvGraphicFramePr>
            <a:graphicFrameLocks noChangeAspect="1"/>
          </p:cNvGraphicFramePr>
          <p:nvPr userDrawn="1">
            <p:custDataLst>
              <p:tags r:id="rId12"/>
            </p:custDataLst>
            <p:extLst>
              <p:ext uri="{D42A27DB-BD31-4B8C-83A1-F6EECF244321}">
                <p14:modId xmlns:p14="http://schemas.microsoft.com/office/powerpoint/2010/main" val="381841052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55" name="think-cell Slide" r:id="rId14" imgW="383" imgH="384" progId="TCLayout.ActiveDocument.1">
                  <p:embed/>
                </p:oleObj>
              </mc:Choice>
              <mc:Fallback>
                <p:oleObj name="think-cell Slide" r:id="rId14" imgW="383" imgH="384" progId="TCLayout.ActiveDocument.1">
                  <p:embed/>
                  <p:pic>
                    <p:nvPicPr>
                      <p:cNvPr id="8" name="Object 7" hidden="1">
                        <a:extLst>
                          <a:ext uri="{FF2B5EF4-FFF2-40B4-BE49-F238E27FC236}">
                            <a16:creationId xmlns:a16="http://schemas.microsoft.com/office/drawing/2014/main" id="{EC59F4C5-B0B1-4297-BAA0-7E0E72AFC756}"/>
                          </a:ext>
                        </a:extLst>
                      </p:cNvPr>
                      <p:cNvPicPr/>
                      <p:nvPr/>
                    </p:nvPicPr>
                    <p:blipFill>
                      <a:blip r:embed="rId15"/>
                      <a:stretch>
                        <a:fillRect/>
                      </a:stretch>
                    </p:blipFill>
                    <p:spPr>
                      <a:xfrm>
                        <a:off x="1589"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1C34D6F-D0F4-4534-8C4A-5CB0647CBE1B}"/>
              </a:ext>
            </a:extLst>
          </p:cNvPr>
          <p:cNvSpPr/>
          <p:nvPr userDrawn="1">
            <p:custDataLst>
              <p:tags r:id="rId1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C15189CC-BB19-4580-9BD1-E60E21E8F458}"/>
              </a:ext>
            </a:extLst>
          </p:cNvPr>
          <p:cNvSpPr>
            <a:spLocks noGrp="1"/>
          </p:cNvSpPr>
          <p:nvPr>
            <p:ph type="title"/>
          </p:nvPr>
        </p:nvSpPr>
        <p:spPr>
          <a:xfrm>
            <a:off x="609600" y="365126"/>
            <a:ext cx="10972800" cy="775612"/>
          </a:xfrm>
          <a:prstGeom prst="rect">
            <a:avLst/>
          </a:prstGeom>
        </p:spPr>
        <p:txBody>
          <a:bodyPr vert="horz" lIns="0" tIns="0" rIns="0" bIns="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FBED655-EDEF-4F48-8965-AC9A79BA0CE8}"/>
              </a:ext>
            </a:extLst>
          </p:cNvPr>
          <p:cNvSpPr>
            <a:spLocks noGrp="1"/>
          </p:cNvSpPr>
          <p:nvPr>
            <p:ph type="body" idx="1"/>
          </p:nvPr>
        </p:nvSpPr>
        <p:spPr>
          <a:xfrm>
            <a:off x="609600" y="1330859"/>
            <a:ext cx="10972800" cy="484610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Single Corner Rounded 12">
            <a:extLst>
              <a:ext uri="{FF2B5EF4-FFF2-40B4-BE49-F238E27FC236}">
                <a16:creationId xmlns:a16="http://schemas.microsoft.com/office/drawing/2014/main" id="{D9201932-F016-4634-83E9-B726DBE3A173}"/>
              </a:ext>
            </a:extLst>
          </p:cNvPr>
          <p:cNvSpPr/>
          <p:nvPr userDrawn="1"/>
        </p:nvSpPr>
        <p:spPr>
          <a:xfrm flipH="1">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6AC4CF72-3B1D-42D0-A397-3629DD6ABDF2}"/>
              </a:ext>
            </a:extLst>
          </p:cNvPr>
          <p:cNvSpPr>
            <a:spLocks noGrp="1"/>
          </p:cNvSpPr>
          <p:nvPr>
            <p:ph type="sldNum" sz="quarter" idx="4"/>
          </p:nvPr>
        </p:nvSpPr>
        <p:spPr>
          <a:xfrm>
            <a:off x="11648192" y="6369819"/>
            <a:ext cx="388247"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pPr/>
              <a:t>‹#›</a:t>
            </a:fld>
            <a:endParaRPr lang="en-US" dirty="0"/>
          </a:p>
        </p:txBody>
      </p:sp>
    </p:spTree>
    <p:extLst>
      <p:ext uri="{BB962C8B-B14F-4D97-AF65-F5344CB8AC3E}">
        <p14:creationId xmlns:p14="http://schemas.microsoft.com/office/powerpoint/2010/main" val="3348973011"/>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7" r:id="rId4"/>
    <p:sldLayoutId id="2147483658" r:id="rId5"/>
    <p:sldLayoutId id="2147483659" r:id="rId6"/>
    <p:sldLayoutId id="2147483660" r:id="rId7"/>
    <p:sldLayoutId id="2147483661" r:id="rId8"/>
    <p:sldLayoutId id="2147483662" r:id="rId9"/>
  </p:sldLayoutIdLst>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296">
          <p15:clr>
            <a:srgbClr val="F26B43"/>
          </p15:clr>
        </p15:guide>
        <p15:guide id="3"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18234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Lst>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xml"/><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2.xml"/><Relationship Id="rId9"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C6DFCF26-0729-4193-8D0D-DFD5608448C5}"/>
              </a:ext>
            </a:extLst>
          </p:cNvPr>
          <p:cNvSpPr/>
          <p:nvPr/>
        </p:nvSpPr>
        <p:spPr>
          <a:xfrm>
            <a:off x="8201" y="0"/>
            <a:ext cx="121838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127"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82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blipFill>
            <a:blip r:embed="rId7"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 name="Rectangle 6">
            <a:extLst>
              <a:ext uri="{FF2B5EF4-FFF2-40B4-BE49-F238E27FC236}">
                <a16:creationId xmlns:a16="http://schemas.microsoft.com/office/drawing/2014/main" id="{8561389A-7A84-48B4-A2FB-476D9CDA872E}"/>
              </a:ext>
            </a:extLst>
          </p:cNvPr>
          <p:cNvSpPr/>
          <p:nvPr/>
        </p:nvSpPr>
        <p:spPr>
          <a:xfrm>
            <a:off x="1"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37" name="Rectangle 36">
            <a:extLst>
              <a:ext uri="{FF2B5EF4-FFF2-40B4-BE49-F238E27FC236}">
                <a16:creationId xmlns:a16="http://schemas.microsoft.com/office/drawing/2014/main" id="{315CBA77-EC7F-4B18-98D5-C1EA7972AC80}"/>
              </a:ext>
            </a:extLst>
          </p:cNvPr>
          <p:cNvSpPr/>
          <p:nvPr/>
        </p:nvSpPr>
        <p:spPr>
          <a:xfrm>
            <a:off x="302092" y="2238543"/>
            <a:ext cx="11534308" cy="2008274"/>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ea"/>
              <a:ea typeface="+mj-ea"/>
              <a:cs typeface="+mn-ea"/>
              <a:sym typeface="+mn-lt"/>
            </a:endParaRPr>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4924040" y="2394128"/>
            <a:ext cx="831508"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29" name="组合 28">
            <a:extLst>
              <a:ext uri="{FF2B5EF4-FFF2-40B4-BE49-F238E27FC236}">
                <a16:creationId xmlns:a16="http://schemas.microsoft.com/office/drawing/2014/main" id="{9F2AFD44-D044-48F2-A42D-6C8AF6C49875}"/>
              </a:ext>
            </a:extLst>
          </p:cNvPr>
          <p:cNvGrpSpPr/>
          <p:nvPr/>
        </p:nvGrpSpPr>
        <p:grpSpPr>
          <a:xfrm>
            <a:off x="274900" y="206794"/>
            <a:ext cx="101370" cy="1330760"/>
            <a:chOff x="508216" y="2820579"/>
            <a:chExt cx="196770" cy="2583143"/>
          </a:xfrm>
          <a:solidFill>
            <a:schemeClr val="bg1"/>
          </a:solidFill>
        </p:grpSpPr>
        <p:sp>
          <p:nvSpPr>
            <p:cNvPr id="30" name="椭圆 29">
              <a:extLst>
                <a:ext uri="{FF2B5EF4-FFF2-40B4-BE49-F238E27FC236}">
                  <a16:creationId xmlns:a16="http://schemas.microsoft.com/office/drawing/2014/main" id="{E4FB7A4E-4FF5-4353-80A0-8E4772FBCC9F}"/>
                </a:ext>
              </a:extLst>
            </p:cNvPr>
            <p:cNvSpPr/>
            <p:nvPr/>
          </p:nvSpPr>
          <p:spPr>
            <a:xfrm>
              <a:off x="508217" y="2820579"/>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1" name="直接连接符 30">
              <a:extLst>
                <a:ext uri="{FF2B5EF4-FFF2-40B4-BE49-F238E27FC236}">
                  <a16:creationId xmlns:a16="http://schemas.microsoft.com/office/drawing/2014/main" id="{53B363B4-0700-4352-9753-7A0B12AF7158}"/>
                </a:ext>
              </a:extLst>
            </p:cNvPr>
            <p:cNvCxnSpPr/>
            <p:nvPr/>
          </p:nvCxnSpPr>
          <p:spPr>
            <a:xfrm>
              <a:off x="606601" y="3222594"/>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椭圆 31">
              <a:extLst>
                <a:ext uri="{FF2B5EF4-FFF2-40B4-BE49-F238E27FC236}">
                  <a16:creationId xmlns:a16="http://schemas.microsoft.com/office/drawing/2014/main" id="{9520FC3F-F125-4820-B45B-02DE79F8AE01}"/>
                </a:ext>
              </a:extLst>
            </p:cNvPr>
            <p:cNvSpPr/>
            <p:nvPr/>
          </p:nvSpPr>
          <p:spPr>
            <a:xfrm>
              <a:off x="508216" y="4013766"/>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6" name="直接连接符 35">
              <a:extLst>
                <a:ext uri="{FF2B5EF4-FFF2-40B4-BE49-F238E27FC236}">
                  <a16:creationId xmlns:a16="http://schemas.microsoft.com/office/drawing/2014/main" id="{DEA8319B-B962-4B58-865D-1412F140F863}"/>
                </a:ext>
              </a:extLst>
            </p:cNvPr>
            <p:cNvCxnSpPr/>
            <p:nvPr/>
          </p:nvCxnSpPr>
          <p:spPr>
            <a:xfrm>
              <a:off x="606600" y="4415781"/>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椭圆 37">
              <a:extLst>
                <a:ext uri="{FF2B5EF4-FFF2-40B4-BE49-F238E27FC236}">
                  <a16:creationId xmlns:a16="http://schemas.microsoft.com/office/drawing/2014/main" id="{0367DF77-36FF-4412-B040-C8CFAA23D4AD}"/>
                </a:ext>
              </a:extLst>
            </p:cNvPr>
            <p:cNvSpPr/>
            <p:nvPr/>
          </p:nvSpPr>
          <p:spPr>
            <a:xfrm>
              <a:off x="508216" y="5206953"/>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grpSp>
      <p:sp>
        <p:nvSpPr>
          <p:cNvPr id="44" name="文本框 43">
            <a:extLst>
              <a:ext uri="{FF2B5EF4-FFF2-40B4-BE49-F238E27FC236}">
                <a16:creationId xmlns:a16="http://schemas.microsoft.com/office/drawing/2014/main" id="{412AB51E-8550-4F16-97B5-57A33D8A83CF}"/>
              </a:ext>
            </a:extLst>
          </p:cNvPr>
          <p:cNvSpPr txBox="1"/>
          <p:nvPr/>
        </p:nvSpPr>
        <p:spPr>
          <a:xfrm>
            <a:off x="88900" y="2717866"/>
            <a:ext cx="11836400" cy="1077218"/>
          </a:xfrm>
          <a:prstGeom prst="rect">
            <a:avLst/>
          </a:prstGeom>
          <a:noFill/>
        </p:spPr>
        <p:txBody>
          <a:bodyPr wrap="square" rtlCol="0">
            <a:spAutoFit/>
          </a:bodyPr>
          <a:lstStyle/>
          <a:p>
            <a:pPr algn="ctr"/>
            <a:r>
              <a:rPr lang="en-US" altLang="zh-CN" sz="3200" b="1" dirty="0">
                <a:solidFill>
                  <a:srgbClr val="A43975"/>
                </a:solidFill>
                <a:latin typeface="华文中宋" panose="02010600040101010101" pitchFamily="2" charset="-122"/>
                <a:ea typeface="华文中宋" panose="02010600040101010101" pitchFamily="2" charset="-122"/>
                <a:cs typeface="+mn-ea"/>
                <a:sym typeface="+mn-lt"/>
              </a:rPr>
              <a:t>《</a:t>
            </a:r>
            <a:r>
              <a:rPr lang="zh-CN" altLang="en-US" sz="3200" b="1" dirty="0">
                <a:solidFill>
                  <a:srgbClr val="A43975"/>
                </a:solidFill>
                <a:latin typeface="华文中宋" panose="02010600040101010101" pitchFamily="2" charset="-122"/>
                <a:ea typeface="华文中宋" panose="02010600040101010101" pitchFamily="2" charset="-122"/>
                <a:cs typeface="+mn-ea"/>
                <a:sym typeface="+mn-lt"/>
              </a:rPr>
              <a:t>天津市滨海新区人民政府办公室关于印发滨海新区推进义务教育优质均衡发展攻坚行动方案的通知</a:t>
            </a:r>
            <a:r>
              <a:rPr lang="en-US" altLang="zh-CN" sz="3200" b="1" dirty="0">
                <a:solidFill>
                  <a:srgbClr val="A43975"/>
                </a:solidFill>
                <a:latin typeface="华文中宋" panose="02010600040101010101" pitchFamily="2" charset="-122"/>
                <a:ea typeface="华文中宋" panose="02010600040101010101" pitchFamily="2" charset="-122"/>
                <a:cs typeface="+mn-ea"/>
                <a:sym typeface="+mn-lt"/>
              </a:rPr>
              <a:t>》</a:t>
            </a:r>
            <a:r>
              <a:rPr lang="zh-CN" altLang="en-US" sz="3200" b="1" dirty="0">
                <a:solidFill>
                  <a:srgbClr val="A43975"/>
                </a:solidFill>
                <a:latin typeface="华文中宋" panose="02010600040101010101" pitchFamily="2" charset="-122"/>
                <a:ea typeface="华文中宋" panose="02010600040101010101" pitchFamily="2" charset="-122"/>
                <a:cs typeface="+mn-ea"/>
                <a:sym typeface="+mn-lt"/>
              </a:rPr>
              <a:t>的政策解读</a:t>
            </a:r>
          </a:p>
        </p:txBody>
      </p:sp>
      <p:sp>
        <p:nvSpPr>
          <p:cNvPr id="45" name="Rectangle: Rounded Corners 10">
            <a:extLst>
              <a:ext uri="{FF2B5EF4-FFF2-40B4-BE49-F238E27FC236}">
                <a16:creationId xmlns:a16="http://schemas.microsoft.com/office/drawing/2014/main" id="{6326CA84-ABBD-43D0-8FC0-C31A82FFC870}"/>
              </a:ext>
            </a:extLst>
          </p:cNvPr>
          <p:cNvSpPr/>
          <p:nvPr/>
        </p:nvSpPr>
        <p:spPr>
          <a:xfrm>
            <a:off x="7222787" y="5221450"/>
            <a:ext cx="4417669" cy="510760"/>
          </a:xfrm>
          <a:prstGeom prst="roundRect">
            <a:avLst>
              <a:gd name="adj" fmla="val 50000"/>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dirty="0">
              <a:solidFill>
                <a:prstClr val="white"/>
              </a:solidFill>
              <a:cs typeface="+mn-ea"/>
              <a:sym typeface="+mn-lt"/>
            </a:endParaRPr>
          </a:p>
        </p:txBody>
      </p:sp>
      <p:sp>
        <p:nvSpPr>
          <p:cNvPr id="48" name="Google Shape;13;p2">
            <a:extLst>
              <a:ext uri="{FF2B5EF4-FFF2-40B4-BE49-F238E27FC236}">
                <a16:creationId xmlns:a16="http://schemas.microsoft.com/office/drawing/2014/main" id="{97B9DD39-4AE9-4143-890C-D55ED1BAD261}"/>
              </a:ext>
            </a:extLst>
          </p:cNvPr>
          <p:cNvSpPr/>
          <p:nvPr/>
        </p:nvSpPr>
        <p:spPr>
          <a:xfrm rot="12770">
            <a:off x="9097886" y="2088383"/>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49" name="Google Shape;14;p2">
            <a:extLst>
              <a:ext uri="{FF2B5EF4-FFF2-40B4-BE49-F238E27FC236}">
                <a16:creationId xmlns:a16="http://schemas.microsoft.com/office/drawing/2014/main" id="{3E152423-2DC4-4136-B75B-0F0A2BBBE463}"/>
              </a:ext>
            </a:extLst>
          </p:cNvPr>
          <p:cNvSpPr/>
          <p:nvPr/>
        </p:nvSpPr>
        <p:spPr>
          <a:xfrm rot="12770">
            <a:off x="9520626" y="1769575"/>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2235461386"/>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randombar(horizontal)">
                                      <p:cBhvr>
                                        <p:cTn id="1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animBg="1"/>
      <p:bldP spid="48" grpId="0" animBg="1"/>
      <p:bldP spid="49"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33" name="Google Shape;133;p15"/>
          <p:cNvSpPr txBox="1"/>
          <p:nvPr/>
        </p:nvSpPr>
        <p:spPr>
          <a:xfrm>
            <a:off x="6435600" y="1566833"/>
            <a:ext cx="1255600" cy="713200"/>
          </a:xfrm>
          <a:prstGeom prst="rect">
            <a:avLst/>
          </a:prstGeom>
          <a:noFill/>
          <a:ln>
            <a:noFill/>
          </a:ln>
        </p:spPr>
        <p:txBody>
          <a:bodyPr spcFirstLastPara="1" wrap="square" lIns="121900" tIns="121900" rIns="121900" bIns="121900" anchor="ctr" anchorCtr="0">
            <a:noAutofit/>
          </a:bodyPr>
          <a:lstStyle/>
          <a:p>
            <a:pPr defTabSz="1219170">
              <a:buClr>
                <a:srgbClr val="000000"/>
              </a:buClr>
            </a:pPr>
            <a:r>
              <a:rPr lang="en" sz="4800" kern="0">
                <a:solidFill>
                  <a:srgbClr val="A43975"/>
                </a:solidFill>
                <a:cs typeface="+mn-ea"/>
                <a:sym typeface="+mn-lt"/>
              </a:rPr>
              <a:t>01</a:t>
            </a:r>
            <a:endParaRPr sz="4800" kern="0">
              <a:solidFill>
                <a:srgbClr val="A43975"/>
              </a:solidFill>
              <a:cs typeface="+mn-ea"/>
              <a:sym typeface="+mn-lt"/>
            </a:endParaRPr>
          </a:p>
        </p:txBody>
      </p:sp>
      <p:grpSp>
        <p:nvGrpSpPr>
          <p:cNvPr id="136" name="Google Shape;136;p15"/>
          <p:cNvGrpSpPr/>
          <p:nvPr/>
        </p:nvGrpSpPr>
        <p:grpSpPr>
          <a:xfrm>
            <a:off x="609587" y="1553418"/>
            <a:ext cx="5286896" cy="4530988"/>
            <a:chOff x="1199275" y="1166750"/>
            <a:chExt cx="2757600" cy="2363325"/>
          </a:xfrm>
        </p:grpSpPr>
        <p:sp>
          <p:nvSpPr>
            <p:cNvPr id="137" name="Google Shape;137;p15"/>
            <p:cNvSpPr/>
            <p:nvPr/>
          </p:nvSpPr>
          <p:spPr>
            <a:xfrm>
              <a:off x="1199275" y="1314025"/>
              <a:ext cx="1630975" cy="1797225"/>
            </a:xfrm>
            <a:custGeom>
              <a:avLst/>
              <a:gdLst/>
              <a:ahLst/>
              <a:cxnLst/>
              <a:rect l="l" t="t" r="r" b="b"/>
              <a:pathLst>
                <a:path w="65239" h="71889" extrusionOk="0">
                  <a:moveTo>
                    <a:pt x="60963" y="0"/>
                  </a:moveTo>
                  <a:cubicBezTo>
                    <a:pt x="30244" y="0"/>
                    <a:pt x="5257" y="25018"/>
                    <a:pt x="5257" y="55737"/>
                  </a:cubicBezTo>
                  <a:cubicBezTo>
                    <a:pt x="5257" y="57637"/>
                    <a:pt x="5352" y="59538"/>
                    <a:pt x="5511" y="61374"/>
                  </a:cubicBezTo>
                  <a:lnTo>
                    <a:pt x="0" y="61374"/>
                  </a:lnTo>
                  <a:lnTo>
                    <a:pt x="15360" y="71888"/>
                  </a:lnTo>
                  <a:lnTo>
                    <a:pt x="30688" y="61374"/>
                  </a:lnTo>
                  <a:lnTo>
                    <a:pt x="25652" y="61374"/>
                  </a:lnTo>
                  <a:cubicBezTo>
                    <a:pt x="25431" y="59538"/>
                    <a:pt x="25304" y="57637"/>
                    <a:pt x="25304" y="55737"/>
                  </a:cubicBezTo>
                  <a:cubicBezTo>
                    <a:pt x="25304" y="36071"/>
                    <a:pt x="41297" y="20046"/>
                    <a:pt x="60963" y="20046"/>
                  </a:cubicBezTo>
                  <a:cubicBezTo>
                    <a:pt x="61692" y="20046"/>
                    <a:pt x="64542" y="20078"/>
                    <a:pt x="65239" y="20141"/>
                  </a:cubicBezTo>
                  <a:lnTo>
                    <a:pt x="64510" y="222"/>
                  </a:lnTo>
                  <a:cubicBezTo>
                    <a:pt x="63813" y="190"/>
                    <a:pt x="61692" y="0"/>
                    <a:pt x="60963"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38" name="Google Shape;138;p15"/>
            <p:cNvSpPr/>
            <p:nvPr/>
          </p:nvSpPr>
          <p:spPr>
            <a:xfrm>
              <a:off x="2636250" y="1166750"/>
              <a:ext cx="1320625" cy="1813075"/>
            </a:xfrm>
            <a:custGeom>
              <a:avLst/>
              <a:gdLst/>
              <a:ahLst/>
              <a:cxnLst/>
              <a:rect l="l" t="t" r="r" b="b"/>
              <a:pathLst>
                <a:path w="52825" h="72523" extrusionOk="0">
                  <a:moveTo>
                    <a:pt x="10515" y="1"/>
                  </a:moveTo>
                  <a:lnTo>
                    <a:pt x="1" y="15328"/>
                  </a:lnTo>
                  <a:lnTo>
                    <a:pt x="10515" y="30688"/>
                  </a:lnTo>
                  <a:lnTo>
                    <a:pt x="10515" y="26286"/>
                  </a:lnTo>
                  <a:cubicBezTo>
                    <a:pt x="23119" y="28344"/>
                    <a:pt x="32778" y="39302"/>
                    <a:pt x="32778" y="52476"/>
                  </a:cubicBezTo>
                  <a:cubicBezTo>
                    <a:pt x="32778" y="58873"/>
                    <a:pt x="29643" y="64542"/>
                    <a:pt x="24861" y="68025"/>
                  </a:cubicBezTo>
                  <a:lnTo>
                    <a:pt x="47948" y="72522"/>
                  </a:lnTo>
                  <a:cubicBezTo>
                    <a:pt x="50006" y="67740"/>
                    <a:pt x="52825" y="64257"/>
                    <a:pt x="52825" y="52476"/>
                  </a:cubicBezTo>
                  <a:cubicBezTo>
                    <a:pt x="52825" y="27584"/>
                    <a:pt x="37212" y="9660"/>
                    <a:pt x="10515" y="6113"/>
                  </a:cubicBezTo>
                  <a:lnTo>
                    <a:pt x="10515"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39" name="Google Shape;139;p15"/>
            <p:cNvSpPr/>
            <p:nvPr/>
          </p:nvSpPr>
          <p:spPr>
            <a:xfrm>
              <a:off x="2175475" y="2708225"/>
              <a:ext cx="1771100" cy="821850"/>
            </a:xfrm>
            <a:custGeom>
              <a:avLst/>
              <a:gdLst/>
              <a:ahLst/>
              <a:cxnLst/>
              <a:rect l="l" t="t" r="r" b="b"/>
              <a:pathLst>
                <a:path w="70844" h="32874" extrusionOk="0">
                  <a:moveTo>
                    <a:pt x="57860" y="1"/>
                  </a:moveTo>
                  <a:lnTo>
                    <a:pt x="40758" y="7285"/>
                  </a:lnTo>
                  <a:lnTo>
                    <a:pt x="44369" y="8013"/>
                  </a:lnTo>
                  <a:cubicBezTo>
                    <a:pt x="43925" y="8488"/>
                    <a:pt x="42500" y="9470"/>
                    <a:pt x="42500" y="9470"/>
                  </a:cubicBezTo>
                  <a:cubicBezTo>
                    <a:pt x="39428" y="11592"/>
                    <a:pt x="35691" y="12858"/>
                    <a:pt x="31701" y="12858"/>
                  </a:cubicBezTo>
                  <a:cubicBezTo>
                    <a:pt x="28312" y="12858"/>
                    <a:pt x="25082" y="11433"/>
                    <a:pt x="22707" y="9312"/>
                  </a:cubicBezTo>
                  <a:lnTo>
                    <a:pt x="0" y="9470"/>
                  </a:lnTo>
                  <a:cubicBezTo>
                    <a:pt x="4244" y="23024"/>
                    <a:pt x="16848" y="32873"/>
                    <a:pt x="31701" y="32873"/>
                  </a:cubicBezTo>
                  <a:cubicBezTo>
                    <a:pt x="46490" y="32873"/>
                    <a:pt x="59380" y="24576"/>
                    <a:pt x="65999" y="12320"/>
                  </a:cubicBezTo>
                  <a:lnTo>
                    <a:pt x="70844" y="13302"/>
                  </a:lnTo>
                  <a:lnTo>
                    <a:pt x="67329" y="9692"/>
                  </a:lnTo>
                  <a:cubicBezTo>
                    <a:pt x="67360" y="9597"/>
                    <a:pt x="67392" y="9533"/>
                    <a:pt x="67424" y="9470"/>
                  </a:cubicBezTo>
                  <a:lnTo>
                    <a:pt x="67107" y="9470"/>
                  </a:lnTo>
                  <a:lnTo>
                    <a:pt x="57860"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0" name="Google Shape;140;p15"/>
            <p:cNvSpPr/>
            <p:nvPr/>
          </p:nvSpPr>
          <p:spPr>
            <a:xfrm>
              <a:off x="2101050" y="1986975"/>
              <a:ext cx="754525" cy="1199475"/>
            </a:xfrm>
            <a:custGeom>
              <a:avLst/>
              <a:gdLst/>
              <a:ahLst/>
              <a:cxnLst/>
              <a:rect l="l" t="t" r="r" b="b"/>
              <a:pathLst>
                <a:path w="30181" h="47979" extrusionOk="0">
                  <a:moveTo>
                    <a:pt x="30181" y="1"/>
                  </a:moveTo>
                  <a:cubicBezTo>
                    <a:pt x="14346" y="1"/>
                    <a:pt x="1457" y="12890"/>
                    <a:pt x="1457" y="28724"/>
                  </a:cubicBezTo>
                  <a:cubicBezTo>
                    <a:pt x="1457" y="31669"/>
                    <a:pt x="1837" y="34520"/>
                    <a:pt x="2534" y="37243"/>
                  </a:cubicBezTo>
                  <a:cubicBezTo>
                    <a:pt x="2597" y="37465"/>
                    <a:pt x="2661" y="37655"/>
                    <a:pt x="2724" y="37877"/>
                  </a:cubicBezTo>
                  <a:cubicBezTo>
                    <a:pt x="2914" y="38668"/>
                    <a:pt x="3199" y="39618"/>
                    <a:pt x="3611" y="40537"/>
                  </a:cubicBezTo>
                  <a:lnTo>
                    <a:pt x="0" y="41518"/>
                  </a:lnTo>
                  <a:lnTo>
                    <a:pt x="2629" y="42437"/>
                  </a:lnTo>
                  <a:lnTo>
                    <a:pt x="17767" y="47979"/>
                  </a:lnTo>
                  <a:lnTo>
                    <a:pt x="24544" y="39555"/>
                  </a:lnTo>
                  <a:lnTo>
                    <a:pt x="25177" y="38827"/>
                  </a:lnTo>
                  <a:lnTo>
                    <a:pt x="29484" y="33443"/>
                  </a:lnTo>
                  <a:lnTo>
                    <a:pt x="22485" y="35375"/>
                  </a:lnTo>
                  <a:cubicBezTo>
                    <a:pt x="21567" y="33665"/>
                    <a:pt x="21060" y="31733"/>
                    <a:pt x="21060" y="29643"/>
                  </a:cubicBezTo>
                  <a:cubicBezTo>
                    <a:pt x="21060" y="23974"/>
                    <a:pt x="24924" y="19192"/>
                    <a:pt x="30181" y="17798"/>
                  </a:cubicBezTo>
                  <a:lnTo>
                    <a:pt x="30181"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grpSp>
      <p:sp>
        <p:nvSpPr>
          <p:cNvPr id="141" name="Google Shape;141;p15"/>
          <p:cNvSpPr txBox="1"/>
          <p:nvPr/>
        </p:nvSpPr>
        <p:spPr>
          <a:xfrm>
            <a:off x="2407590" y="3810103"/>
            <a:ext cx="1013124" cy="709276"/>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kern="0">
                <a:solidFill>
                  <a:srgbClr val="FFFFFF"/>
                </a:solidFill>
                <a:cs typeface="+mn-ea"/>
                <a:sym typeface="+mn-lt"/>
              </a:rPr>
              <a:t>01</a:t>
            </a:r>
            <a:endParaRPr kern="0">
              <a:solidFill>
                <a:srgbClr val="FFFFFF"/>
              </a:solidFill>
              <a:cs typeface="+mn-ea"/>
              <a:sym typeface="+mn-lt"/>
            </a:endParaRPr>
          </a:p>
        </p:txBody>
      </p:sp>
      <p:sp>
        <p:nvSpPr>
          <p:cNvPr id="142" name="Google Shape;142;p15"/>
          <p:cNvSpPr txBox="1"/>
          <p:nvPr/>
        </p:nvSpPr>
        <p:spPr>
          <a:xfrm>
            <a:off x="3626898" y="5187712"/>
            <a:ext cx="1013124" cy="709276"/>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kern="0">
                <a:solidFill>
                  <a:srgbClr val="FFFFFF"/>
                </a:solidFill>
                <a:cs typeface="+mn-ea"/>
                <a:sym typeface="+mn-lt"/>
              </a:rPr>
              <a:t>02</a:t>
            </a:r>
            <a:endParaRPr kern="0">
              <a:solidFill>
                <a:srgbClr val="FFFFFF"/>
              </a:solidFill>
              <a:cs typeface="+mn-ea"/>
              <a:sym typeface="+mn-lt"/>
            </a:endParaRPr>
          </a:p>
        </p:txBody>
      </p:sp>
      <p:sp>
        <p:nvSpPr>
          <p:cNvPr id="143" name="Google Shape;143;p15"/>
          <p:cNvSpPr txBox="1"/>
          <p:nvPr/>
        </p:nvSpPr>
        <p:spPr>
          <a:xfrm>
            <a:off x="4751261" y="2987799"/>
            <a:ext cx="1013124" cy="709276"/>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kern="0">
                <a:solidFill>
                  <a:srgbClr val="FFFFFF"/>
                </a:solidFill>
                <a:cs typeface="+mn-ea"/>
                <a:sym typeface="+mn-lt"/>
              </a:rPr>
              <a:t>03</a:t>
            </a:r>
            <a:endParaRPr kern="0">
              <a:solidFill>
                <a:srgbClr val="FFFFFF"/>
              </a:solidFill>
              <a:cs typeface="+mn-ea"/>
              <a:sym typeface="+mn-lt"/>
            </a:endParaRPr>
          </a:p>
        </p:txBody>
      </p:sp>
      <p:sp>
        <p:nvSpPr>
          <p:cNvPr id="144" name="Google Shape;144;p15"/>
          <p:cNvSpPr txBox="1"/>
          <p:nvPr/>
        </p:nvSpPr>
        <p:spPr>
          <a:xfrm>
            <a:off x="1337710" y="2698009"/>
            <a:ext cx="1013124" cy="709276"/>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kern="0">
                <a:solidFill>
                  <a:srgbClr val="FFFFFF"/>
                </a:solidFill>
                <a:cs typeface="+mn-ea"/>
                <a:sym typeface="+mn-lt"/>
              </a:rPr>
              <a:t>04</a:t>
            </a:r>
            <a:endParaRPr kern="0">
              <a:solidFill>
                <a:srgbClr val="FFFFFF"/>
              </a:solidFill>
              <a:cs typeface="+mn-ea"/>
              <a:sym typeface="+mn-lt"/>
            </a:endParaRPr>
          </a:p>
        </p:txBody>
      </p:sp>
      <p:sp>
        <p:nvSpPr>
          <p:cNvPr id="145" name="Google Shape;145;p15"/>
          <p:cNvSpPr txBox="1"/>
          <p:nvPr/>
        </p:nvSpPr>
        <p:spPr>
          <a:xfrm>
            <a:off x="6435600" y="2790800"/>
            <a:ext cx="1255600" cy="713200"/>
          </a:xfrm>
          <a:prstGeom prst="rect">
            <a:avLst/>
          </a:prstGeom>
          <a:noFill/>
          <a:ln>
            <a:noFill/>
          </a:ln>
        </p:spPr>
        <p:txBody>
          <a:bodyPr spcFirstLastPara="1" wrap="square" lIns="121900" tIns="121900" rIns="121900" bIns="121900" anchor="ctr" anchorCtr="0">
            <a:noAutofit/>
          </a:bodyPr>
          <a:lstStyle/>
          <a:p>
            <a:pPr defTabSz="1219170">
              <a:buClr>
                <a:srgbClr val="000000"/>
              </a:buClr>
            </a:pPr>
            <a:r>
              <a:rPr lang="en" sz="4800" kern="0">
                <a:solidFill>
                  <a:srgbClr val="A43975"/>
                </a:solidFill>
                <a:cs typeface="+mn-ea"/>
                <a:sym typeface="+mn-lt"/>
              </a:rPr>
              <a:t>02</a:t>
            </a:r>
            <a:endParaRPr sz="4800" kern="0">
              <a:solidFill>
                <a:srgbClr val="A43975"/>
              </a:solidFill>
              <a:cs typeface="+mn-ea"/>
              <a:sym typeface="+mn-lt"/>
            </a:endParaRPr>
          </a:p>
        </p:txBody>
      </p:sp>
      <p:sp>
        <p:nvSpPr>
          <p:cNvPr id="146" name="Google Shape;146;p15"/>
          <p:cNvSpPr txBox="1"/>
          <p:nvPr/>
        </p:nvSpPr>
        <p:spPr>
          <a:xfrm>
            <a:off x="6435600" y="4014767"/>
            <a:ext cx="1255600" cy="713200"/>
          </a:xfrm>
          <a:prstGeom prst="rect">
            <a:avLst/>
          </a:prstGeom>
          <a:noFill/>
          <a:ln>
            <a:noFill/>
          </a:ln>
        </p:spPr>
        <p:txBody>
          <a:bodyPr spcFirstLastPara="1" wrap="square" lIns="121900" tIns="121900" rIns="121900" bIns="121900" anchor="ctr" anchorCtr="0">
            <a:noAutofit/>
          </a:bodyPr>
          <a:lstStyle/>
          <a:p>
            <a:pPr defTabSz="1219170">
              <a:buClr>
                <a:srgbClr val="000000"/>
              </a:buClr>
            </a:pPr>
            <a:r>
              <a:rPr lang="en" sz="4800" kern="0">
                <a:solidFill>
                  <a:srgbClr val="A43975"/>
                </a:solidFill>
                <a:cs typeface="+mn-ea"/>
                <a:sym typeface="+mn-lt"/>
              </a:rPr>
              <a:t>03</a:t>
            </a:r>
            <a:endParaRPr sz="4800" kern="0">
              <a:solidFill>
                <a:srgbClr val="A43975"/>
              </a:solidFill>
              <a:cs typeface="+mn-ea"/>
              <a:sym typeface="+mn-lt"/>
            </a:endParaRPr>
          </a:p>
        </p:txBody>
      </p:sp>
      <p:sp>
        <p:nvSpPr>
          <p:cNvPr id="147" name="Google Shape;147;p15"/>
          <p:cNvSpPr txBox="1"/>
          <p:nvPr/>
        </p:nvSpPr>
        <p:spPr>
          <a:xfrm>
            <a:off x="6435596" y="5242767"/>
            <a:ext cx="1255600" cy="713200"/>
          </a:xfrm>
          <a:prstGeom prst="rect">
            <a:avLst/>
          </a:prstGeom>
          <a:noFill/>
          <a:ln>
            <a:noFill/>
          </a:ln>
        </p:spPr>
        <p:txBody>
          <a:bodyPr spcFirstLastPara="1" wrap="square" lIns="121900" tIns="121900" rIns="121900" bIns="121900" anchor="ctr" anchorCtr="0">
            <a:noAutofit/>
          </a:bodyPr>
          <a:lstStyle/>
          <a:p>
            <a:pPr defTabSz="1219170">
              <a:buClr>
                <a:srgbClr val="000000"/>
              </a:buClr>
            </a:pPr>
            <a:r>
              <a:rPr lang="en" sz="4800" kern="0">
                <a:solidFill>
                  <a:srgbClr val="A43975"/>
                </a:solidFill>
                <a:cs typeface="+mn-ea"/>
                <a:sym typeface="+mn-lt"/>
              </a:rPr>
              <a:t>04</a:t>
            </a:r>
            <a:endParaRPr sz="4800" kern="0">
              <a:solidFill>
                <a:srgbClr val="A43975"/>
              </a:solidFill>
              <a:cs typeface="+mn-ea"/>
              <a:sym typeface="+mn-lt"/>
            </a:endParaRPr>
          </a:p>
        </p:txBody>
      </p:sp>
      <p:sp>
        <p:nvSpPr>
          <p:cNvPr id="17" name="Synergistically utilize technically sound portals with frictionless chains. Dramatically customize…">
            <a:extLst>
              <a:ext uri="{FF2B5EF4-FFF2-40B4-BE49-F238E27FC236}">
                <a16:creationId xmlns:a16="http://schemas.microsoft.com/office/drawing/2014/main" id="{0526DB58-D964-4146-9E41-E6C26A2042DF}"/>
              </a:ext>
            </a:extLst>
          </p:cNvPr>
          <p:cNvSpPr txBox="1"/>
          <p:nvPr/>
        </p:nvSpPr>
        <p:spPr>
          <a:xfrm>
            <a:off x="7633462" y="1525979"/>
            <a:ext cx="3602385" cy="738664"/>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pPr>
              <a:lnSpc>
                <a:spcPct val="100000"/>
              </a:lnSpc>
            </a:pPr>
            <a:r>
              <a:rPr lang="zh-CN" altLang="en-US" sz="2400" dirty="0">
                <a:sym typeface="+mn-lt"/>
              </a:rPr>
              <a:t>加快规划建设，扩大资源总量</a:t>
            </a:r>
            <a:endParaRPr lang="en-US" altLang="zh-CN" sz="2400" dirty="0">
              <a:sym typeface="+mn-lt"/>
            </a:endParaRPr>
          </a:p>
        </p:txBody>
      </p:sp>
      <p:sp>
        <p:nvSpPr>
          <p:cNvPr id="18" name="Synergistically utilize technically sound portals with frictionless chains. Dramatically customize…">
            <a:extLst>
              <a:ext uri="{FF2B5EF4-FFF2-40B4-BE49-F238E27FC236}">
                <a16:creationId xmlns:a16="http://schemas.microsoft.com/office/drawing/2014/main" id="{70EFBD19-4C1C-4402-AC27-8A262A6AD1B1}"/>
              </a:ext>
            </a:extLst>
          </p:cNvPr>
          <p:cNvSpPr txBox="1"/>
          <p:nvPr/>
        </p:nvSpPr>
        <p:spPr>
          <a:xfrm>
            <a:off x="7633462" y="2889358"/>
            <a:ext cx="3815328" cy="369332"/>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pPr>
              <a:lnSpc>
                <a:spcPct val="100000"/>
              </a:lnSpc>
            </a:pPr>
            <a:r>
              <a:rPr lang="zh-CN" altLang="en-US" sz="2400" b="1" dirty="0">
                <a:sym typeface="+mn-lt"/>
              </a:rPr>
              <a:t>强基固本，夯实发展基础</a:t>
            </a:r>
            <a:endParaRPr lang="en-US" altLang="zh-CN" sz="2400" b="1" dirty="0">
              <a:sym typeface="+mn-lt"/>
            </a:endParaRPr>
          </a:p>
        </p:txBody>
      </p:sp>
      <p:sp>
        <p:nvSpPr>
          <p:cNvPr id="19" name="Synergistically utilize technically sound portals with frictionless chains. Dramatically customize…">
            <a:extLst>
              <a:ext uri="{FF2B5EF4-FFF2-40B4-BE49-F238E27FC236}">
                <a16:creationId xmlns:a16="http://schemas.microsoft.com/office/drawing/2014/main" id="{CC75BB7C-32A8-42AA-87D0-3A32D4BE402B}"/>
              </a:ext>
            </a:extLst>
          </p:cNvPr>
          <p:cNvSpPr txBox="1"/>
          <p:nvPr/>
        </p:nvSpPr>
        <p:spPr>
          <a:xfrm>
            <a:off x="7637265" y="3968642"/>
            <a:ext cx="3598582" cy="738664"/>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pPr>
              <a:lnSpc>
                <a:spcPct val="100000"/>
              </a:lnSpc>
            </a:pPr>
            <a:r>
              <a:rPr lang="zh-CN" altLang="en-US" sz="2400" dirty="0">
                <a:sym typeface="+mn-lt"/>
              </a:rPr>
              <a:t>加强教师队伍建设，提高教师专业水平</a:t>
            </a:r>
            <a:endParaRPr lang="en-US" altLang="zh-CN" sz="2400" dirty="0">
              <a:sym typeface="+mn-lt"/>
            </a:endParaRPr>
          </a:p>
        </p:txBody>
      </p:sp>
      <p:sp>
        <p:nvSpPr>
          <p:cNvPr id="20" name="Synergistically utilize technically sound portals with frictionless chains. Dramatically customize…">
            <a:extLst>
              <a:ext uri="{FF2B5EF4-FFF2-40B4-BE49-F238E27FC236}">
                <a16:creationId xmlns:a16="http://schemas.microsoft.com/office/drawing/2014/main" id="{F9DF3DF1-8DB4-45BE-BA9B-68B4C77D29A9}"/>
              </a:ext>
            </a:extLst>
          </p:cNvPr>
          <p:cNvSpPr txBox="1"/>
          <p:nvPr/>
        </p:nvSpPr>
        <p:spPr>
          <a:xfrm>
            <a:off x="7633462" y="5232002"/>
            <a:ext cx="3598582" cy="738664"/>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pPr>
              <a:lnSpc>
                <a:spcPct val="100000"/>
              </a:lnSpc>
            </a:pPr>
            <a:r>
              <a:rPr lang="zh-CN" altLang="en-US" sz="2400" dirty="0">
                <a:sym typeface="+mn-lt"/>
              </a:rPr>
              <a:t>深化教育教学改革，全面提升教育质量。</a:t>
            </a:r>
            <a:endParaRPr lang="en-US" altLang="zh-CN" sz="2400" dirty="0">
              <a:sym typeface="+mn-lt"/>
            </a:endParaRPr>
          </a:p>
        </p:txBody>
      </p:sp>
      <p:sp>
        <p:nvSpPr>
          <p:cNvPr id="21" name="Google Shape;1496;p40">
            <a:extLst>
              <a:ext uri="{FF2B5EF4-FFF2-40B4-BE49-F238E27FC236}">
                <a16:creationId xmlns:a16="http://schemas.microsoft.com/office/drawing/2014/main" id="{46540EB3-A4FD-4EA8-BB24-108482A3FF7D}"/>
              </a:ext>
            </a:extLst>
          </p:cNvPr>
          <p:cNvSpPr txBox="1"/>
          <p:nvPr/>
        </p:nvSpPr>
        <p:spPr>
          <a:xfrm>
            <a:off x="484939" y="402183"/>
            <a:ext cx="2857200" cy="496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 dirty="0">
                <a:latin typeface="+mn-lt"/>
                <a:cs typeface="+mn-ea"/>
                <a:sym typeface="+mn-lt"/>
              </a:rPr>
              <a:t> </a:t>
            </a:r>
            <a:endParaRPr dirty="0">
              <a:latin typeface="+mn-lt"/>
              <a:cs typeface="+mn-ea"/>
              <a:sym typeface="+mn-lt"/>
            </a:endParaRPr>
          </a:p>
        </p:txBody>
      </p:sp>
      <p:sp>
        <p:nvSpPr>
          <p:cNvPr id="22" name="文本框 21">
            <a:extLst>
              <a:ext uri="{FF2B5EF4-FFF2-40B4-BE49-F238E27FC236}">
                <a16:creationId xmlns:a16="http://schemas.microsoft.com/office/drawing/2014/main" id="{DCB1F3FF-0FA6-4DB4-8CDC-5B88930334B2}"/>
              </a:ext>
            </a:extLst>
          </p:cNvPr>
          <p:cNvSpPr txBox="1"/>
          <p:nvPr/>
        </p:nvSpPr>
        <p:spPr>
          <a:xfrm>
            <a:off x="731044" y="465717"/>
            <a:ext cx="2226455" cy="400110"/>
          </a:xfrm>
          <a:prstGeom prst="rect">
            <a:avLst/>
          </a:prstGeom>
          <a:noFill/>
        </p:spPr>
        <p:txBody>
          <a:bodyPr wrap="square" rtlCol="0">
            <a:spAutoFit/>
          </a:bodyPr>
          <a:lstStyle/>
          <a:p>
            <a:pPr algn="dist"/>
            <a:r>
              <a:rPr lang="zh-CN" altLang="en-US" sz="2000" b="1" dirty="0">
                <a:solidFill>
                  <a:schemeClr val="bg1"/>
                </a:solidFill>
                <a:cs typeface="+mn-ea"/>
                <a:sym typeface="+mn-lt"/>
              </a:rPr>
              <a:t>主要任务</a:t>
            </a: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a:extLst>
              <a:ext uri="{FF2B5EF4-FFF2-40B4-BE49-F238E27FC236}">
                <a16:creationId xmlns:a16="http://schemas.microsoft.com/office/drawing/2014/main" id="{419943E5-C2EF-4133-ADC8-92BBFCBEF39F}"/>
              </a:ext>
            </a:extLst>
          </p:cNvPr>
          <p:cNvGrpSpPr/>
          <p:nvPr/>
        </p:nvGrpSpPr>
        <p:grpSpPr>
          <a:xfrm>
            <a:off x="6264922" y="1132238"/>
            <a:ext cx="4576180" cy="4593524"/>
            <a:chOff x="6540501" y="0"/>
            <a:chExt cx="4896342" cy="4914901"/>
          </a:xfrm>
        </p:grpSpPr>
        <p:sp>
          <p:nvSpPr>
            <p:cNvPr id="25" name="Rectangle: Rounded Corners 24">
              <a:extLst>
                <a:ext uri="{FF2B5EF4-FFF2-40B4-BE49-F238E27FC236}">
                  <a16:creationId xmlns:a16="http://schemas.microsoft.com/office/drawing/2014/main" id="{494E6301-EB23-4685-88EB-C44A54F0F7DD}"/>
                </a:ext>
              </a:extLst>
            </p:cNvPr>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a:extLst>
                <a:ext uri="{FF2B5EF4-FFF2-40B4-BE49-F238E27FC236}">
                  <a16:creationId xmlns:a16="http://schemas.microsoft.com/office/drawing/2014/main" id="{377C7E56-A503-4A1C-A558-116396C5E36E}"/>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6899651" y="0"/>
              <a:ext cx="4537192" cy="4622800"/>
            </a:xfrm>
            <a:prstGeom prst="rect">
              <a:avLst/>
            </a:prstGeom>
          </p:spPr>
        </p:pic>
      </p:gr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a:extLst>
              <a:ext uri="{FF2B5EF4-FFF2-40B4-BE49-F238E27FC236}">
                <a16:creationId xmlns:a16="http://schemas.microsoft.com/office/drawing/2014/main" id="{531409A3-BCA5-4112-983E-0B015B4FEC9B}"/>
              </a:ext>
            </a:extLst>
          </p:cNvPr>
          <p:cNvSpPr txBox="1"/>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四、工作措施</a:t>
            </a:r>
            <a:endParaRPr lang="en-US" altLang="zh-CN" sz="4400" b="1" u="sng" dirty="0">
              <a:solidFill>
                <a:srgbClr val="A43975"/>
              </a:solidFill>
              <a:cs typeface="+mn-ea"/>
              <a:sym typeface="+mn-lt"/>
            </a:endParaRPr>
          </a:p>
        </p:txBody>
      </p:sp>
      <p:sp>
        <p:nvSpPr>
          <p:cNvPr id="17" name="Title 1">
            <a:extLst>
              <a:ext uri="{FF2B5EF4-FFF2-40B4-BE49-F238E27FC236}">
                <a16:creationId xmlns:a16="http://schemas.microsoft.com/office/drawing/2014/main" id="{EA2F7233-5CF3-4BAA-9DB3-924685106EE7}"/>
              </a:ext>
            </a:extLst>
          </p:cNvPr>
          <p:cNvSpPr txBox="1">
            <a:spLocks/>
          </p:cNvSpPr>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p>
        </p:txBody>
      </p:sp>
      <p:sp>
        <p:nvSpPr>
          <p:cNvPr id="19" name="Google Shape;13;p2">
            <a:extLst>
              <a:ext uri="{FF2B5EF4-FFF2-40B4-BE49-F238E27FC236}">
                <a16:creationId xmlns:a16="http://schemas.microsoft.com/office/drawing/2014/main" id="{509DD1A6-1FA7-493E-B44D-F8868C2102FE}"/>
              </a:ext>
            </a:extLst>
          </p:cNvPr>
          <p:cNvSpPr/>
          <p:nvPr/>
        </p:nvSpPr>
        <p:spPr>
          <a:xfrm rot="12770">
            <a:off x="628033" y="2574350"/>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20" name="Google Shape;14;p2">
            <a:extLst>
              <a:ext uri="{FF2B5EF4-FFF2-40B4-BE49-F238E27FC236}">
                <a16:creationId xmlns:a16="http://schemas.microsoft.com/office/drawing/2014/main" id="{9FDDE0E7-DC25-48CF-AAB3-D30CE6AB5B87}"/>
              </a:ext>
            </a:extLst>
          </p:cNvPr>
          <p:cNvSpPr/>
          <p:nvPr/>
        </p:nvSpPr>
        <p:spPr>
          <a:xfrm rot="12770">
            <a:off x="1050772" y="2255542"/>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3196878747"/>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20"/>
        <p:cNvGrpSpPr/>
        <p:nvPr/>
      </p:nvGrpSpPr>
      <p:grpSpPr>
        <a:xfrm>
          <a:off x="0" y="0"/>
          <a:ext cx="0" cy="0"/>
          <a:chOff x="0" y="0"/>
          <a:chExt cx="0" cy="0"/>
        </a:xfrm>
      </p:grpSpPr>
      <p:grpSp>
        <p:nvGrpSpPr>
          <p:cNvPr id="822" name="Google Shape;822;p27"/>
          <p:cNvGrpSpPr/>
          <p:nvPr/>
        </p:nvGrpSpPr>
        <p:grpSpPr>
          <a:xfrm>
            <a:off x="620980" y="536178"/>
            <a:ext cx="10962291" cy="5779329"/>
            <a:chOff x="466397" y="402133"/>
            <a:chExt cx="8221718" cy="4334497"/>
          </a:xfrm>
        </p:grpSpPr>
        <p:grpSp>
          <p:nvGrpSpPr>
            <p:cNvPr id="823" name="Google Shape;823;p27"/>
            <p:cNvGrpSpPr/>
            <p:nvPr/>
          </p:nvGrpSpPr>
          <p:grpSpPr>
            <a:xfrm>
              <a:off x="466397" y="402133"/>
              <a:ext cx="8221718" cy="4334497"/>
              <a:chOff x="466397" y="402133"/>
              <a:chExt cx="8221718" cy="4334497"/>
            </a:xfrm>
          </p:grpSpPr>
          <p:sp>
            <p:nvSpPr>
              <p:cNvPr id="824" name="Google Shape;824;p27"/>
              <p:cNvSpPr/>
              <p:nvPr/>
            </p:nvSpPr>
            <p:spPr>
              <a:xfrm>
                <a:off x="466397" y="3262837"/>
                <a:ext cx="8220686" cy="1473793"/>
              </a:xfrm>
              <a:custGeom>
                <a:avLst/>
                <a:gdLst/>
                <a:ahLst/>
                <a:cxnLst/>
                <a:rect l="l" t="t" r="r" b="b"/>
                <a:pathLst>
                  <a:path w="254905" h="45699" extrusionOk="0">
                    <a:moveTo>
                      <a:pt x="218359" y="1"/>
                    </a:moveTo>
                    <a:lnTo>
                      <a:pt x="218359" y="9565"/>
                    </a:lnTo>
                    <a:cubicBezTo>
                      <a:pt x="220607" y="9565"/>
                      <a:pt x="222761" y="9628"/>
                      <a:pt x="224756" y="9755"/>
                    </a:cubicBezTo>
                    <a:cubicBezTo>
                      <a:pt x="231628" y="10167"/>
                      <a:pt x="236917" y="11338"/>
                      <a:pt x="240432" y="13207"/>
                    </a:cubicBezTo>
                    <a:cubicBezTo>
                      <a:pt x="244802" y="15487"/>
                      <a:pt x="245372" y="18305"/>
                      <a:pt x="245372" y="20522"/>
                    </a:cubicBezTo>
                    <a:cubicBezTo>
                      <a:pt x="245372" y="26128"/>
                      <a:pt x="239007" y="29706"/>
                      <a:pt x="233718" y="31733"/>
                    </a:cubicBezTo>
                    <a:cubicBezTo>
                      <a:pt x="226529" y="34457"/>
                      <a:pt x="216680" y="36040"/>
                      <a:pt x="206673" y="36135"/>
                    </a:cubicBezTo>
                    <a:lnTo>
                      <a:pt x="0" y="36135"/>
                    </a:lnTo>
                    <a:lnTo>
                      <a:pt x="0" y="45699"/>
                    </a:lnTo>
                    <a:lnTo>
                      <a:pt x="206704" y="45699"/>
                    </a:lnTo>
                    <a:lnTo>
                      <a:pt x="206736" y="45667"/>
                    </a:lnTo>
                    <a:cubicBezTo>
                      <a:pt x="217820" y="45604"/>
                      <a:pt x="228904" y="43767"/>
                      <a:pt x="237107" y="40664"/>
                    </a:cubicBezTo>
                    <a:cubicBezTo>
                      <a:pt x="251833" y="35058"/>
                      <a:pt x="254905" y="26634"/>
                      <a:pt x="254905" y="20522"/>
                    </a:cubicBezTo>
                    <a:cubicBezTo>
                      <a:pt x="254905" y="13650"/>
                      <a:pt x="251453" y="8203"/>
                      <a:pt x="244897" y="4751"/>
                    </a:cubicBezTo>
                    <a:cubicBezTo>
                      <a:pt x="240084" y="2218"/>
                      <a:pt x="233686" y="729"/>
                      <a:pt x="225358" y="191"/>
                    </a:cubicBezTo>
                    <a:cubicBezTo>
                      <a:pt x="223172" y="64"/>
                      <a:pt x="220829" y="1"/>
                      <a:pt x="218359"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25" name="Google Shape;825;p27"/>
              <p:cNvSpPr/>
              <p:nvPr/>
            </p:nvSpPr>
            <p:spPr>
              <a:xfrm>
                <a:off x="466397" y="3282252"/>
                <a:ext cx="8201304" cy="1434996"/>
              </a:xfrm>
              <a:custGeom>
                <a:avLst/>
                <a:gdLst/>
                <a:ahLst/>
                <a:cxnLst/>
                <a:rect l="l" t="t" r="r" b="b"/>
                <a:pathLst>
                  <a:path w="254304" h="44496" extrusionOk="0">
                    <a:moveTo>
                      <a:pt x="218359" y="1"/>
                    </a:moveTo>
                    <a:lnTo>
                      <a:pt x="218359" y="8361"/>
                    </a:lnTo>
                    <a:cubicBezTo>
                      <a:pt x="220639" y="8361"/>
                      <a:pt x="222792" y="8424"/>
                      <a:pt x="224787" y="8551"/>
                    </a:cubicBezTo>
                    <a:cubicBezTo>
                      <a:pt x="231755" y="8994"/>
                      <a:pt x="237107" y="10166"/>
                      <a:pt x="240717" y="12066"/>
                    </a:cubicBezTo>
                    <a:cubicBezTo>
                      <a:pt x="244327" y="13966"/>
                      <a:pt x="245942" y="16405"/>
                      <a:pt x="245942" y="19920"/>
                    </a:cubicBezTo>
                    <a:cubicBezTo>
                      <a:pt x="245942" y="25874"/>
                      <a:pt x="239387" y="29611"/>
                      <a:pt x="233908" y="31669"/>
                    </a:cubicBezTo>
                    <a:cubicBezTo>
                      <a:pt x="226688" y="34425"/>
                      <a:pt x="216744" y="36040"/>
                      <a:pt x="206673" y="36135"/>
                    </a:cubicBezTo>
                    <a:lnTo>
                      <a:pt x="0" y="36135"/>
                    </a:lnTo>
                    <a:lnTo>
                      <a:pt x="0" y="44495"/>
                    </a:lnTo>
                    <a:lnTo>
                      <a:pt x="206704" y="44495"/>
                    </a:lnTo>
                    <a:lnTo>
                      <a:pt x="206736" y="44464"/>
                    </a:lnTo>
                    <a:cubicBezTo>
                      <a:pt x="217757" y="44400"/>
                      <a:pt x="228746" y="42564"/>
                      <a:pt x="236885" y="39492"/>
                    </a:cubicBezTo>
                    <a:cubicBezTo>
                      <a:pt x="251294" y="34045"/>
                      <a:pt x="254303" y="25842"/>
                      <a:pt x="254303" y="19920"/>
                    </a:cubicBezTo>
                    <a:cubicBezTo>
                      <a:pt x="254303" y="13270"/>
                      <a:pt x="250946" y="8013"/>
                      <a:pt x="244612" y="4656"/>
                    </a:cubicBezTo>
                    <a:cubicBezTo>
                      <a:pt x="239894" y="2186"/>
                      <a:pt x="233560" y="729"/>
                      <a:pt x="225326" y="191"/>
                    </a:cubicBezTo>
                    <a:cubicBezTo>
                      <a:pt x="223141" y="64"/>
                      <a:pt x="220797" y="1"/>
                      <a:pt x="218359"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26" name="Google Shape;826;p27"/>
              <p:cNvSpPr/>
              <p:nvPr/>
            </p:nvSpPr>
            <p:spPr>
              <a:xfrm>
                <a:off x="6329834" y="2501963"/>
                <a:ext cx="2358281" cy="1472793"/>
              </a:xfrm>
              <a:custGeom>
                <a:avLst/>
                <a:gdLst/>
                <a:ahLst/>
                <a:cxnLst/>
                <a:rect l="l" t="t" r="r" b="b"/>
                <a:pathLst>
                  <a:path w="73125" h="45668" extrusionOk="0">
                    <a:moveTo>
                      <a:pt x="36578" y="0"/>
                    </a:moveTo>
                    <a:lnTo>
                      <a:pt x="36578" y="9533"/>
                    </a:lnTo>
                    <a:cubicBezTo>
                      <a:pt x="46617" y="9533"/>
                      <a:pt x="54028" y="10768"/>
                      <a:pt x="58620" y="13175"/>
                    </a:cubicBezTo>
                    <a:cubicBezTo>
                      <a:pt x="62990" y="15487"/>
                      <a:pt x="63560" y="18305"/>
                      <a:pt x="63560" y="20490"/>
                    </a:cubicBezTo>
                    <a:cubicBezTo>
                      <a:pt x="63560" y="24164"/>
                      <a:pt x="60900" y="27362"/>
                      <a:pt x="55706" y="30054"/>
                    </a:cubicBezTo>
                    <a:cubicBezTo>
                      <a:pt x="49088" y="33411"/>
                      <a:pt x="38953" y="35596"/>
                      <a:pt x="27869" y="36040"/>
                    </a:cubicBezTo>
                    <a:cubicBezTo>
                      <a:pt x="26553" y="36092"/>
                      <a:pt x="25295" y="36116"/>
                      <a:pt x="24098" y="36116"/>
                    </a:cubicBezTo>
                    <a:cubicBezTo>
                      <a:pt x="20227" y="36116"/>
                      <a:pt x="16996" y="35864"/>
                      <a:pt x="14505" y="35501"/>
                    </a:cubicBezTo>
                    <a:cubicBezTo>
                      <a:pt x="15423" y="35248"/>
                      <a:pt x="16468" y="35026"/>
                      <a:pt x="17672" y="34773"/>
                    </a:cubicBezTo>
                    <a:cubicBezTo>
                      <a:pt x="22961" y="33728"/>
                      <a:pt x="29674" y="33158"/>
                      <a:pt x="36547" y="33158"/>
                    </a:cubicBezTo>
                    <a:cubicBezTo>
                      <a:pt x="38257" y="33158"/>
                      <a:pt x="39935" y="33189"/>
                      <a:pt x="41519" y="33253"/>
                    </a:cubicBezTo>
                    <a:lnTo>
                      <a:pt x="41962" y="23720"/>
                    </a:lnTo>
                    <a:cubicBezTo>
                      <a:pt x="40252" y="23625"/>
                      <a:pt x="38415" y="23594"/>
                      <a:pt x="36578" y="23594"/>
                    </a:cubicBezTo>
                    <a:cubicBezTo>
                      <a:pt x="27711" y="23594"/>
                      <a:pt x="19319" y="24481"/>
                      <a:pt x="12953" y="26032"/>
                    </a:cubicBezTo>
                    <a:cubicBezTo>
                      <a:pt x="9596" y="26887"/>
                      <a:pt x="6873" y="27901"/>
                      <a:pt x="4878" y="29073"/>
                    </a:cubicBezTo>
                    <a:cubicBezTo>
                      <a:pt x="856" y="31416"/>
                      <a:pt x="1" y="34266"/>
                      <a:pt x="1" y="36230"/>
                    </a:cubicBezTo>
                    <a:cubicBezTo>
                      <a:pt x="1" y="37655"/>
                      <a:pt x="507" y="40315"/>
                      <a:pt x="3864" y="42278"/>
                    </a:cubicBezTo>
                    <a:cubicBezTo>
                      <a:pt x="5258" y="43102"/>
                      <a:pt x="7063" y="43767"/>
                      <a:pt x="9343" y="44274"/>
                    </a:cubicBezTo>
                    <a:cubicBezTo>
                      <a:pt x="13238" y="45192"/>
                      <a:pt x="18337" y="45667"/>
                      <a:pt x="24132" y="45667"/>
                    </a:cubicBezTo>
                    <a:cubicBezTo>
                      <a:pt x="35312" y="45667"/>
                      <a:pt x="46522" y="43894"/>
                      <a:pt x="54915" y="40790"/>
                    </a:cubicBezTo>
                    <a:cubicBezTo>
                      <a:pt x="69958" y="35216"/>
                      <a:pt x="73124" y="26697"/>
                      <a:pt x="73124" y="20522"/>
                    </a:cubicBezTo>
                    <a:cubicBezTo>
                      <a:pt x="73124" y="13618"/>
                      <a:pt x="69641" y="8171"/>
                      <a:pt x="63054" y="4719"/>
                    </a:cubicBezTo>
                    <a:cubicBezTo>
                      <a:pt x="57005" y="1521"/>
                      <a:pt x="48328" y="0"/>
                      <a:pt x="36578"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27" name="Google Shape;827;p27"/>
              <p:cNvSpPr/>
              <p:nvPr/>
            </p:nvSpPr>
            <p:spPr>
              <a:xfrm>
                <a:off x="6349248" y="2521377"/>
                <a:ext cx="2319452" cy="1433964"/>
              </a:xfrm>
              <a:custGeom>
                <a:avLst/>
                <a:gdLst/>
                <a:ahLst/>
                <a:cxnLst/>
                <a:rect l="l" t="t" r="r" b="b"/>
                <a:pathLst>
                  <a:path w="71921" h="44464" extrusionOk="0">
                    <a:moveTo>
                      <a:pt x="35945" y="0"/>
                    </a:moveTo>
                    <a:lnTo>
                      <a:pt x="35945" y="8361"/>
                    </a:lnTo>
                    <a:cubicBezTo>
                      <a:pt x="46110" y="8361"/>
                      <a:pt x="53616" y="9596"/>
                      <a:pt x="58271" y="12034"/>
                    </a:cubicBezTo>
                    <a:cubicBezTo>
                      <a:pt x="61913" y="13966"/>
                      <a:pt x="63560" y="16373"/>
                      <a:pt x="63560" y="19920"/>
                    </a:cubicBezTo>
                    <a:cubicBezTo>
                      <a:pt x="63560" y="23942"/>
                      <a:pt x="60583" y="27457"/>
                      <a:pt x="54724" y="30276"/>
                    </a:cubicBezTo>
                    <a:cubicBezTo>
                      <a:pt x="47884" y="33601"/>
                      <a:pt x="37655" y="35723"/>
                      <a:pt x="26602" y="36071"/>
                    </a:cubicBezTo>
                    <a:cubicBezTo>
                      <a:pt x="25496" y="36106"/>
                      <a:pt x="24438" y="36122"/>
                      <a:pt x="23429" y="36122"/>
                    </a:cubicBezTo>
                    <a:cubicBezTo>
                      <a:pt x="17966" y="36122"/>
                      <a:pt x="13926" y="35651"/>
                      <a:pt x="11306" y="35089"/>
                    </a:cubicBezTo>
                    <a:cubicBezTo>
                      <a:pt x="12605" y="34614"/>
                      <a:pt x="14378" y="34108"/>
                      <a:pt x="16690" y="33664"/>
                    </a:cubicBezTo>
                    <a:cubicBezTo>
                      <a:pt x="22074" y="32556"/>
                      <a:pt x="28914" y="31954"/>
                      <a:pt x="35945" y="31954"/>
                    </a:cubicBezTo>
                    <a:cubicBezTo>
                      <a:pt x="37686" y="31954"/>
                      <a:pt x="39365" y="31986"/>
                      <a:pt x="40948" y="32081"/>
                    </a:cubicBezTo>
                    <a:lnTo>
                      <a:pt x="41297" y="23720"/>
                    </a:lnTo>
                    <a:cubicBezTo>
                      <a:pt x="39587" y="23625"/>
                      <a:pt x="37813" y="23594"/>
                      <a:pt x="35945" y="23594"/>
                    </a:cubicBezTo>
                    <a:cubicBezTo>
                      <a:pt x="27141" y="23594"/>
                      <a:pt x="18812" y="24449"/>
                      <a:pt x="12478" y="26032"/>
                    </a:cubicBezTo>
                    <a:cubicBezTo>
                      <a:pt x="9184" y="26855"/>
                      <a:pt x="6524" y="27837"/>
                      <a:pt x="4561" y="28977"/>
                    </a:cubicBezTo>
                    <a:cubicBezTo>
                      <a:pt x="792" y="31194"/>
                      <a:pt x="0" y="33823"/>
                      <a:pt x="0" y="35659"/>
                    </a:cubicBezTo>
                    <a:cubicBezTo>
                      <a:pt x="0" y="36926"/>
                      <a:pt x="475" y="39365"/>
                      <a:pt x="3579" y="41170"/>
                    </a:cubicBezTo>
                    <a:cubicBezTo>
                      <a:pt x="4909" y="41961"/>
                      <a:pt x="6651" y="42595"/>
                      <a:pt x="8868" y="43102"/>
                    </a:cubicBezTo>
                    <a:cubicBezTo>
                      <a:pt x="12668" y="43988"/>
                      <a:pt x="17893" y="44463"/>
                      <a:pt x="23530" y="44463"/>
                    </a:cubicBezTo>
                    <a:cubicBezTo>
                      <a:pt x="34646" y="44463"/>
                      <a:pt x="45794" y="42722"/>
                      <a:pt x="54091" y="39618"/>
                    </a:cubicBezTo>
                    <a:cubicBezTo>
                      <a:pt x="68817" y="34171"/>
                      <a:pt x="71921" y="25905"/>
                      <a:pt x="71921" y="19920"/>
                    </a:cubicBezTo>
                    <a:cubicBezTo>
                      <a:pt x="71921" y="13269"/>
                      <a:pt x="68532" y="7981"/>
                      <a:pt x="62167" y="4656"/>
                    </a:cubicBezTo>
                    <a:cubicBezTo>
                      <a:pt x="56213" y="1520"/>
                      <a:pt x="47631" y="0"/>
                      <a:pt x="3594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28" name="Google Shape;828;p27"/>
              <p:cNvSpPr/>
              <p:nvPr/>
            </p:nvSpPr>
            <p:spPr>
              <a:xfrm>
                <a:off x="6329834" y="1740057"/>
                <a:ext cx="2357249" cy="1472793"/>
              </a:xfrm>
              <a:custGeom>
                <a:avLst/>
                <a:gdLst/>
                <a:ahLst/>
                <a:cxnLst/>
                <a:rect l="l" t="t" r="r" b="b"/>
                <a:pathLst>
                  <a:path w="73093" h="45668" extrusionOk="0">
                    <a:moveTo>
                      <a:pt x="36547" y="0"/>
                    </a:moveTo>
                    <a:lnTo>
                      <a:pt x="36547" y="9564"/>
                    </a:lnTo>
                    <a:cubicBezTo>
                      <a:pt x="46617" y="9564"/>
                      <a:pt x="54028" y="10768"/>
                      <a:pt x="58620" y="13175"/>
                    </a:cubicBezTo>
                    <a:cubicBezTo>
                      <a:pt x="62990" y="15487"/>
                      <a:pt x="63529" y="18305"/>
                      <a:pt x="63529" y="20522"/>
                    </a:cubicBezTo>
                    <a:cubicBezTo>
                      <a:pt x="63529" y="24164"/>
                      <a:pt x="60900" y="27362"/>
                      <a:pt x="55675" y="30054"/>
                    </a:cubicBezTo>
                    <a:cubicBezTo>
                      <a:pt x="49088" y="33411"/>
                      <a:pt x="38922" y="35596"/>
                      <a:pt x="27838" y="36040"/>
                    </a:cubicBezTo>
                    <a:cubicBezTo>
                      <a:pt x="26529" y="36092"/>
                      <a:pt x="25276" y="36116"/>
                      <a:pt x="24083" y="36116"/>
                    </a:cubicBezTo>
                    <a:cubicBezTo>
                      <a:pt x="20225" y="36116"/>
                      <a:pt x="16989" y="35864"/>
                      <a:pt x="14473" y="35501"/>
                    </a:cubicBezTo>
                    <a:cubicBezTo>
                      <a:pt x="15392" y="35280"/>
                      <a:pt x="16468" y="35026"/>
                      <a:pt x="17640" y="34773"/>
                    </a:cubicBezTo>
                    <a:cubicBezTo>
                      <a:pt x="22644" y="33791"/>
                      <a:pt x="28883" y="33221"/>
                      <a:pt x="35343" y="33158"/>
                    </a:cubicBezTo>
                    <a:lnTo>
                      <a:pt x="36578" y="33158"/>
                    </a:lnTo>
                    <a:cubicBezTo>
                      <a:pt x="38288" y="33158"/>
                      <a:pt x="39935" y="33189"/>
                      <a:pt x="41519" y="33284"/>
                    </a:cubicBezTo>
                    <a:lnTo>
                      <a:pt x="41962" y="23720"/>
                    </a:lnTo>
                    <a:cubicBezTo>
                      <a:pt x="40632" y="23657"/>
                      <a:pt x="39239" y="23625"/>
                      <a:pt x="37813" y="23625"/>
                    </a:cubicBezTo>
                    <a:lnTo>
                      <a:pt x="37782" y="23594"/>
                    </a:lnTo>
                    <a:lnTo>
                      <a:pt x="36547" y="23594"/>
                    </a:lnTo>
                    <a:cubicBezTo>
                      <a:pt x="27679" y="23594"/>
                      <a:pt x="19287" y="24481"/>
                      <a:pt x="12922" y="26032"/>
                    </a:cubicBezTo>
                    <a:cubicBezTo>
                      <a:pt x="9565" y="26887"/>
                      <a:pt x="6841" y="27901"/>
                      <a:pt x="4846" y="29073"/>
                    </a:cubicBezTo>
                    <a:cubicBezTo>
                      <a:pt x="824" y="31416"/>
                      <a:pt x="1" y="34266"/>
                      <a:pt x="1" y="36261"/>
                    </a:cubicBezTo>
                    <a:cubicBezTo>
                      <a:pt x="1" y="37655"/>
                      <a:pt x="507" y="40315"/>
                      <a:pt x="3864" y="42310"/>
                    </a:cubicBezTo>
                    <a:cubicBezTo>
                      <a:pt x="5258" y="43102"/>
                      <a:pt x="7031" y="43767"/>
                      <a:pt x="9311" y="44305"/>
                    </a:cubicBezTo>
                    <a:cubicBezTo>
                      <a:pt x="13207" y="45192"/>
                      <a:pt x="18337" y="45667"/>
                      <a:pt x="24101" y="45667"/>
                    </a:cubicBezTo>
                    <a:cubicBezTo>
                      <a:pt x="35280" y="45667"/>
                      <a:pt x="46491" y="43894"/>
                      <a:pt x="54883" y="40790"/>
                    </a:cubicBezTo>
                    <a:cubicBezTo>
                      <a:pt x="69958" y="35216"/>
                      <a:pt x="73093" y="26697"/>
                      <a:pt x="73093" y="20522"/>
                    </a:cubicBezTo>
                    <a:cubicBezTo>
                      <a:pt x="73093" y="13650"/>
                      <a:pt x="69641" y="8203"/>
                      <a:pt x="63085" y="4719"/>
                    </a:cubicBezTo>
                    <a:cubicBezTo>
                      <a:pt x="57005" y="1552"/>
                      <a:pt x="48328" y="0"/>
                      <a:pt x="36547"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29" name="Google Shape;829;p27"/>
              <p:cNvSpPr/>
              <p:nvPr/>
            </p:nvSpPr>
            <p:spPr>
              <a:xfrm>
                <a:off x="6349248" y="1759471"/>
                <a:ext cx="2318453" cy="1434964"/>
              </a:xfrm>
              <a:custGeom>
                <a:avLst/>
                <a:gdLst/>
                <a:ahLst/>
                <a:cxnLst/>
                <a:rect l="l" t="t" r="r" b="b"/>
                <a:pathLst>
                  <a:path w="71890" h="44495" extrusionOk="0">
                    <a:moveTo>
                      <a:pt x="35945" y="0"/>
                    </a:moveTo>
                    <a:lnTo>
                      <a:pt x="35945" y="8361"/>
                    </a:lnTo>
                    <a:cubicBezTo>
                      <a:pt x="46110" y="8361"/>
                      <a:pt x="53616" y="9596"/>
                      <a:pt x="58271" y="12066"/>
                    </a:cubicBezTo>
                    <a:cubicBezTo>
                      <a:pt x="61913" y="13966"/>
                      <a:pt x="63528" y="16405"/>
                      <a:pt x="63528" y="19920"/>
                    </a:cubicBezTo>
                    <a:cubicBezTo>
                      <a:pt x="63528" y="23974"/>
                      <a:pt x="60552" y="27457"/>
                      <a:pt x="54724" y="30307"/>
                    </a:cubicBezTo>
                    <a:cubicBezTo>
                      <a:pt x="47884" y="33601"/>
                      <a:pt x="37623" y="35723"/>
                      <a:pt x="26571" y="36071"/>
                    </a:cubicBezTo>
                    <a:cubicBezTo>
                      <a:pt x="25464" y="36106"/>
                      <a:pt x="24407" y="36122"/>
                      <a:pt x="23399" y="36122"/>
                    </a:cubicBezTo>
                    <a:cubicBezTo>
                      <a:pt x="17943" y="36122"/>
                      <a:pt x="13921" y="35651"/>
                      <a:pt x="11274" y="35089"/>
                    </a:cubicBezTo>
                    <a:cubicBezTo>
                      <a:pt x="12605" y="34614"/>
                      <a:pt x="14346" y="34139"/>
                      <a:pt x="16658" y="33664"/>
                    </a:cubicBezTo>
                    <a:cubicBezTo>
                      <a:pt x="21789" y="32619"/>
                      <a:pt x="28217" y="32017"/>
                      <a:pt x="34868" y="31986"/>
                    </a:cubicBezTo>
                    <a:lnTo>
                      <a:pt x="35976" y="31986"/>
                    </a:lnTo>
                    <a:cubicBezTo>
                      <a:pt x="37686" y="31986"/>
                      <a:pt x="39365" y="32017"/>
                      <a:pt x="40948" y="32081"/>
                    </a:cubicBezTo>
                    <a:cubicBezTo>
                      <a:pt x="40948" y="32081"/>
                      <a:pt x="40949" y="32081"/>
                      <a:pt x="40949" y="32081"/>
                    </a:cubicBezTo>
                    <a:cubicBezTo>
                      <a:pt x="40983" y="32081"/>
                      <a:pt x="41328" y="23720"/>
                      <a:pt x="41328" y="23720"/>
                    </a:cubicBezTo>
                    <a:cubicBezTo>
                      <a:pt x="39935" y="23657"/>
                      <a:pt x="38510" y="23625"/>
                      <a:pt x="37053" y="23625"/>
                    </a:cubicBezTo>
                    <a:lnTo>
                      <a:pt x="37021" y="23594"/>
                    </a:lnTo>
                    <a:lnTo>
                      <a:pt x="35945" y="23594"/>
                    </a:lnTo>
                    <a:cubicBezTo>
                      <a:pt x="27141" y="23594"/>
                      <a:pt x="18780" y="24480"/>
                      <a:pt x="12478" y="26032"/>
                    </a:cubicBezTo>
                    <a:cubicBezTo>
                      <a:pt x="9153" y="26855"/>
                      <a:pt x="6492" y="27837"/>
                      <a:pt x="4561" y="28977"/>
                    </a:cubicBezTo>
                    <a:cubicBezTo>
                      <a:pt x="792" y="31194"/>
                      <a:pt x="0" y="33823"/>
                      <a:pt x="0" y="35659"/>
                    </a:cubicBezTo>
                    <a:cubicBezTo>
                      <a:pt x="0" y="36926"/>
                      <a:pt x="444" y="39365"/>
                      <a:pt x="3547" y="41170"/>
                    </a:cubicBezTo>
                    <a:cubicBezTo>
                      <a:pt x="4909" y="41961"/>
                      <a:pt x="6619" y="42595"/>
                      <a:pt x="8836" y="43102"/>
                    </a:cubicBezTo>
                    <a:cubicBezTo>
                      <a:pt x="12636" y="43988"/>
                      <a:pt x="17862" y="44495"/>
                      <a:pt x="23499" y="44495"/>
                    </a:cubicBezTo>
                    <a:cubicBezTo>
                      <a:pt x="34615" y="44495"/>
                      <a:pt x="45762" y="42722"/>
                      <a:pt x="54059" y="39650"/>
                    </a:cubicBezTo>
                    <a:cubicBezTo>
                      <a:pt x="68817" y="34203"/>
                      <a:pt x="71889" y="25905"/>
                      <a:pt x="71889" y="19920"/>
                    </a:cubicBezTo>
                    <a:cubicBezTo>
                      <a:pt x="71889" y="13301"/>
                      <a:pt x="68532" y="8012"/>
                      <a:pt x="62198" y="4656"/>
                    </a:cubicBezTo>
                    <a:cubicBezTo>
                      <a:pt x="56213" y="1520"/>
                      <a:pt x="47631" y="0"/>
                      <a:pt x="3594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0" name="Google Shape;830;p27"/>
              <p:cNvSpPr/>
              <p:nvPr/>
            </p:nvSpPr>
            <p:spPr>
              <a:xfrm>
                <a:off x="6329834" y="402133"/>
                <a:ext cx="2358281" cy="2049810"/>
              </a:xfrm>
              <a:custGeom>
                <a:avLst/>
                <a:gdLst/>
                <a:ahLst/>
                <a:cxnLst/>
                <a:rect l="l" t="t" r="r" b="b"/>
                <a:pathLst>
                  <a:path w="73125" h="63560" extrusionOk="0">
                    <a:moveTo>
                      <a:pt x="49468" y="0"/>
                    </a:moveTo>
                    <a:lnTo>
                      <a:pt x="31796" y="3199"/>
                    </a:lnTo>
                    <a:cubicBezTo>
                      <a:pt x="31480" y="3262"/>
                      <a:pt x="31258" y="3579"/>
                      <a:pt x="31321" y="3896"/>
                    </a:cubicBezTo>
                    <a:lnTo>
                      <a:pt x="34520" y="21567"/>
                    </a:lnTo>
                    <a:cubicBezTo>
                      <a:pt x="34551" y="21820"/>
                      <a:pt x="34742" y="22010"/>
                      <a:pt x="34963" y="22042"/>
                    </a:cubicBezTo>
                    <a:cubicBezTo>
                      <a:pt x="35027" y="22073"/>
                      <a:pt x="35058" y="22073"/>
                      <a:pt x="35090" y="22073"/>
                    </a:cubicBezTo>
                    <a:cubicBezTo>
                      <a:pt x="35280" y="22073"/>
                      <a:pt x="35470" y="21978"/>
                      <a:pt x="35597" y="21820"/>
                    </a:cubicBezTo>
                    <a:lnTo>
                      <a:pt x="40125" y="15296"/>
                    </a:lnTo>
                    <a:cubicBezTo>
                      <a:pt x="41455" y="16183"/>
                      <a:pt x="42785" y="17070"/>
                      <a:pt x="44116" y="17957"/>
                    </a:cubicBezTo>
                    <a:cubicBezTo>
                      <a:pt x="53680" y="24227"/>
                      <a:pt x="63560" y="30751"/>
                      <a:pt x="63560" y="38383"/>
                    </a:cubicBezTo>
                    <a:cubicBezTo>
                      <a:pt x="63560" y="42025"/>
                      <a:pt x="60900" y="45255"/>
                      <a:pt x="55706" y="47915"/>
                    </a:cubicBezTo>
                    <a:cubicBezTo>
                      <a:pt x="49088" y="51304"/>
                      <a:pt x="38953" y="53489"/>
                      <a:pt x="27869" y="53932"/>
                    </a:cubicBezTo>
                    <a:cubicBezTo>
                      <a:pt x="26668" y="53973"/>
                      <a:pt x="25516" y="53992"/>
                      <a:pt x="24414" y="53992"/>
                    </a:cubicBezTo>
                    <a:cubicBezTo>
                      <a:pt x="20403" y="53992"/>
                      <a:pt x="17064" y="53742"/>
                      <a:pt x="14505" y="53394"/>
                    </a:cubicBezTo>
                    <a:cubicBezTo>
                      <a:pt x="15423" y="53141"/>
                      <a:pt x="16468" y="52887"/>
                      <a:pt x="17672" y="52666"/>
                    </a:cubicBezTo>
                    <a:cubicBezTo>
                      <a:pt x="22961" y="51621"/>
                      <a:pt x="29674" y="51019"/>
                      <a:pt x="36547" y="51019"/>
                    </a:cubicBezTo>
                    <a:cubicBezTo>
                      <a:pt x="38257" y="51019"/>
                      <a:pt x="39935" y="51082"/>
                      <a:pt x="41519" y="51146"/>
                    </a:cubicBezTo>
                    <a:lnTo>
                      <a:pt x="41962" y="41581"/>
                    </a:lnTo>
                    <a:cubicBezTo>
                      <a:pt x="40220" y="41518"/>
                      <a:pt x="38415" y="41486"/>
                      <a:pt x="36547" y="41486"/>
                    </a:cubicBezTo>
                    <a:cubicBezTo>
                      <a:pt x="27711" y="41486"/>
                      <a:pt x="19319" y="42342"/>
                      <a:pt x="12953" y="43925"/>
                    </a:cubicBezTo>
                    <a:cubicBezTo>
                      <a:pt x="9596" y="44748"/>
                      <a:pt x="6873" y="45762"/>
                      <a:pt x="4878" y="46934"/>
                    </a:cubicBezTo>
                    <a:cubicBezTo>
                      <a:pt x="856" y="49277"/>
                      <a:pt x="1" y="52159"/>
                      <a:pt x="1" y="54122"/>
                    </a:cubicBezTo>
                    <a:cubicBezTo>
                      <a:pt x="1" y="55547"/>
                      <a:pt x="507" y="58208"/>
                      <a:pt x="3864" y="60171"/>
                    </a:cubicBezTo>
                    <a:cubicBezTo>
                      <a:pt x="5258" y="60995"/>
                      <a:pt x="7031" y="61660"/>
                      <a:pt x="9311" y="62166"/>
                    </a:cubicBezTo>
                    <a:cubicBezTo>
                      <a:pt x="13238" y="63085"/>
                      <a:pt x="18337" y="63560"/>
                      <a:pt x="24132" y="63560"/>
                    </a:cubicBezTo>
                    <a:cubicBezTo>
                      <a:pt x="35312" y="63560"/>
                      <a:pt x="46522" y="61786"/>
                      <a:pt x="54915" y="58683"/>
                    </a:cubicBezTo>
                    <a:cubicBezTo>
                      <a:pt x="69958" y="53109"/>
                      <a:pt x="73124" y="44558"/>
                      <a:pt x="73124" y="38383"/>
                    </a:cubicBezTo>
                    <a:cubicBezTo>
                      <a:pt x="73124" y="32461"/>
                      <a:pt x="70433" y="26950"/>
                      <a:pt x="64859" y="21535"/>
                    </a:cubicBezTo>
                    <a:cubicBezTo>
                      <a:pt x="60457" y="17260"/>
                      <a:pt x="54820" y="13555"/>
                      <a:pt x="49373" y="9976"/>
                    </a:cubicBezTo>
                    <a:cubicBezTo>
                      <a:pt x="48043" y="9089"/>
                      <a:pt x="46776" y="8266"/>
                      <a:pt x="45541" y="7442"/>
                    </a:cubicBezTo>
                    <a:lnTo>
                      <a:pt x="50069" y="950"/>
                    </a:lnTo>
                    <a:cubicBezTo>
                      <a:pt x="50196" y="729"/>
                      <a:pt x="50196" y="475"/>
                      <a:pt x="50069" y="285"/>
                    </a:cubicBezTo>
                    <a:cubicBezTo>
                      <a:pt x="49974" y="95"/>
                      <a:pt x="49784" y="0"/>
                      <a:pt x="49563"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1" name="Google Shape;831;p27"/>
              <p:cNvSpPr/>
              <p:nvPr/>
            </p:nvSpPr>
            <p:spPr>
              <a:xfrm>
                <a:off x="6350248" y="421515"/>
                <a:ext cx="2318453" cy="2011013"/>
              </a:xfrm>
              <a:custGeom>
                <a:avLst/>
                <a:gdLst/>
                <a:ahLst/>
                <a:cxnLst/>
                <a:rect l="l" t="t" r="r" b="b"/>
                <a:pathLst>
                  <a:path w="71890" h="62357" extrusionOk="0">
                    <a:moveTo>
                      <a:pt x="48930" y="1"/>
                    </a:moveTo>
                    <a:lnTo>
                      <a:pt x="31258" y="3200"/>
                    </a:lnTo>
                    <a:lnTo>
                      <a:pt x="34457" y="20871"/>
                    </a:lnTo>
                    <a:lnTo>
                      <a:pt x="39334" y="13872"/>
                    </a:lnTo>
                    <a:cubicBezTo>
                      <a:pt x="40822" y="14885"/>
                      <a:pt x="42342" y="15867"/>
                      <a:pt x="43831" y="16849"/>
                    </a:cubicBezTo>
                    <a:cubicBezTo>
                      <a:pt x="53522" y="23246"/>
                      <a:pt x="63529" y="29833"/>
                      <a:pt x="63529" y="37782"/>
                    </a:cubicBezTo>
                    <a:cubicBezTo>
                      <a:pt x="63529" y="41836"/>
                      <a:pt x="60552" y="45319"/>
                      <a:pt x="54693" y="48169"/>
                    </a:cubicBezTo>
                    <a:cubicBezTo>
                      <a:pt x="47885" y="51495"/>
                      <a:pt x="37624" y="53585"/>
                      <a:pt x="26571" y="53933"/>
                    </a:cubicBezTo>
                    <a:cubicBezTo>
                      <a:pt x="25465" y="53968"/>
                      <a:pt x="24408" y="53984"/>
                      <a:pt x="23400" y="53984"/>
                    </a:cubicBezTo>
                    <a:cubicBezTo>
                      <a:pt x="17944" y="53984"/>
                      <a:pt x="13921" y="53513"/>
                      <a:pt x="11275" y="52951"/>
                    </a:cubicBezTo>
                    <a:cubicBezTo>
                      <a:pt x="12574" y="52508"/>
                      <a:pt x="14347" y="52001"/>
                      <a:pt x="16659" y="51526"/>
                    </a:cubicBezTo>
                    <a:cubicBezTo>
                      <a:pt x="22043" y="50449"/>
                      <a:pt x="28883" y="49848"/>
                      <a:pt x="35914" y="49816"/>
                    </a:cubicBezTo>
                    <a:cubicBezTo>
                      <a:pt x="37655" y="49816"/>
                      <a:pt x="39334" y="49879"/>
                      <a:pt x="40949" y="49943"/>
                    </a:cubicBezTo>
                    <a:lnTo>
                      <a:pt x="41297" y="41582"/>
                    </a:lnTo>
                    <a:cubicBezTo>
                      <a:pt x="39587" y="41519"/>
                      <a:pt x="37782" y="41456"/>
                      <a:pt x="35945" y="41456"/>
                    </a:cubicBezTo>
                    <a:cubicBezTo>
                      <a:pt x="27141" y="41456"/>
                      <a:pt x="18781" y="42342"/>
                      <a:pt x="12479" y="43894"/>
                    </a:cubicBezTo>
                    <a:cubicBezTo>
                      <a:pt x="9153" y="44717"/>
                      <a:pt x="6493" y="45699"/>
                      <a:pt x="4561" y="46839"/>
                    </a:cubicBezTo>
                    <a:cubicBezTo>
                      <a:pt x="793" y="49056"/>
                      <a:pt x="1" y="51685"/>
                      <a:pt x="1" y="53521"/>
                    </a:cubicBezTo>
                    <a:cubicBezTo>
                      <a:pt x="1" y="54788"/>
                      <a:pt x="444" y="57227"/>
                      <a:pt x="3548" y="59032"/>
                    </a:cubicBezTo>
                    <a:cubicBezTo>
                      <a:pt x="4910" y="59823"/>
                      <a:pt x="6620" y="60457"/>
                      <a:pt x="8837" y="60964"/>
                    </a:cubicBezTo>
                    <a:cubicBezTo>
                      <a:pt x="12637" y="61850"/>
                      <a:pt x="17862" y="62357"/>
                      <a:pt x="23499" y="62357"/>
                    </a:cubicBezTo>
                    <a:cubicBezTo>
                      <a:pt x="34615" y="62357"/>
                      <a:pt x="45763" y="60584"/>
                      <a:pt x="54092" y="57512"/>
                    </a:cubicBezTo>
                    <a:cubicBezTo>
                      <a:pt x="68818" y="52033"/>
                      <a:pt x="71890" y="43767"/>
                      <a:pt x="71890" y="37782"/>
                    </a:cubicBezTo>
                    <a:cubicBezTo>
                      <a:pt x="71890" y="32018"/>
                      <a:pt x="69261" y="26666"/>
                      <a:pt x="63814" y="21377"/>
                    </a:cubicBezTo>
                    <a:cubicBezTo>
                      <a:pt x="59444" y="17134"/>
                      <a:pt x="53838" y="13429"/>
                      <a:pt x="48423" y="9850"/>
                    </a:cubicBezTo>
                    <a:cubicBezTo>
                      <a:pt x="46903" y="8868"/>
                      <a:pt x="45478" y="7918"/>
                      <a:pt x="44084" y="7000"/>
                    </a:cubicBezTo>
                    <a:lnTo>
                      <a:pt x="48930"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2" name="Google Shape;832;p27"/>
              <p:cNvSpPr/>
              <p:nvPr/>
            </p:nvSpPr>
            <p:spPr>
              <a:xfrm>
                <a:off x="8164149" y="4350565"/>
                <a:ext cx="55180" cy="40861"/>
              </a:xfrm>
              <a:custGeom>
                <a:avLst/>
                <a:gdLst/>
                <a:ahLst/>
                <a:cxnLst/>
                <a:rect l="l" t="t" r="r" b="b"/>
                <a:pathLst>
                  <a:path w="1711" h="1267" extrusionOk="0">
                    <a:moveTo>
                      <a:pt x="1425" y="0"/>
                    </a:moveTo>
                    <a:cubicBezTo>
                      <a:pt x="950" y="254"/>
                      <a:pt x="475" y="507"/>
                      <a:pt x="0" y="729"/>
                    </a:cubicBezTo>
                    <a:lnTo>
                      <a:pt x="254" y="1267"/>
                    </a:lnTo>
                    <a:cubicBezTo>
                      <a:pt x="760" y="1045"/>
                      <a:pt x="1235" y="792"/>
                      <a:pt x="1710" y="539"/>
                    </a:cubicBezTo>
                    <a:lnTo>
                      <a:pt x="142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3" name="Google Shape;833;p27"/>
              <p:cNvSpPr/>
              <p:nvPr/>
            </p:nvSpPr>
            <p:spPr>
              <a:xfrm>
                <a:off x="8413345" y="4158549"/>
                <a:ext cx="48020" cy="52116"/>
              </a:xfrm>
              <a:custGeom>
                <a:avLst/>
                <a:gdLst/>
                <a:ahLst/>
                <a:cxnLst/>
                <a:rect l="l" t="t" r="r" b="b"/>
                <a:pathLst>
                  <a:path w="1489" h="1616" extrusionOk="0">
                    <a:moveTo>
                      <a:pt x="982" y="0"/>
                    </a:moveTo>
                    <a:cubicBezTo>
                      <a:pt x="697" y="412"/>
                      <a:pt x="349" y="824"/>
                      <a:pt x="0" y="1236"/>
                    </a:cubicBezTo>
                    <a:lnTo>
                      <a:pt x="444" y="1616"/>
                    </a:lnTo>
                    <a:cubicBezTo>
                      <a:pt x="824" y="1204"/>
                      <a:pt x="1172" y="792"/>
                      <a:pt x="1489" y="349"/>
                    </a:cubicBezTo>
                    <a:lnTo>
                      <a:pt x="98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4" name="Google Shape;834;p27"/>
              <p:cNvSpPr/>
              <p:nvPr/>
            </p:nvSpPr>
            <p:spPr>
              <a:xfrm>
                <a:off x="8254030" y="4297449"/>
                <a:ext cx="54148" cy="44957"/>
              </a:xfrm>
              <a:custGeom>
                <a:avLst/>
                <a:gdLst/>
                <a:ahLst/>
                <a:cxnLst/>
                <a:rect l="l" t="t" r="r" b="b"/>
                <a:pathLst>
                  <a:path w="1679" h="1394" extrusionOk="0">
                    <a:moveTo>
                      <a:pt x="1362" y="0"/>
                    </a:moveTo>
                    <a:cubicBezTo>
                      <a:pt x="918" y="317"/>
                      <a:pt x="475" y="602"/>
                      <a:pt x="0" y="887"/>
                    </a:cubicBezTo>
                    <a:lnTo>
                      <a:pt x="317" y="1394"/>
                    </a:lnTo>
                    <a:cubicBezTo>
                      <a:pt x="792" y="1109"/>
                      <a:pt x="1235" y="792"/>
                      <a:pt x="1679" y="507"/>
                    </a:cubicBezTo>
                    <a:lnTo>
                      <a:pt x="136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5" name="Google Shape;835;p27"/>
              <p:cNvSpPr/>
              <p:nvPr/>
            </p:nvSpPr>
            <p:spPr>
              <a:xfrm>
                <a:off x="8402122" y="3628488"/>
                <a:ext cx="24542" cy="22478"/>
              </a:xfrm>
              <a:custGeom>
                <a:avLst/>
                <a:gdLst/>
                <a:ahLst/>
                <a:cxnLst/>
                <a:rect l="l" t="t" r="r" b="b"/>
                <a:pathLst>
                  <a:path w="761" h="697" extrusionOk="0">
                    <a:moveTo>
                      <a:pt x="475" y="0"/>
                    </a:moveTo>
                    <a:cubicBezTo>
                      <a:pt x="317" y="127"/>
                      <a:pt x="158" y="254"/>
                      <a:pt x="0" y="349"/>
                    </a:cubicBezTo>
                    <a:cubicBezTo>
                      <a:pt x="127" y="475"/>
                      <a:pt x="222" y="570"/>
                      <a:pt x="348" y="697"/>
                    </a:cubicBezTo>
                    <a:lnTo>
                      <a:pt x="760" y="254"/>
                    </a:lnTo>
                    <a:cubicBezTo>
                      <a:pt x="665" y="159"/>
                      <a:pt x="570" y="95"/>
                      <a:pt x="47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6" name="Google Shape;836;p27"/>
              <p:cNvSpPr/>
              <p:nvPr/>
            </p:nvSpPr>
            <p:spPr>
              <a:xfrm>
                <a:off x="8338783" y="4234110"/>
                <a:ext cx="52116" cy="48053"/>
              </a:xfrm>
              <a:custGeom>
                <a:avLst/>
                <a:gdLst/>
                <a:ahLst/>
                <a:cxnLst/>
                <a:rect l="l" t="t" r="r" b="b"/>
                <a:pathLst>
                  <a:path w="1616" h="1490" extrusionOk="0">
                    <a:moveTo>
                      <a:pt x="1204" y="1"/>
                    </a:moveTo>
                    <a:cubicBezTo>
                      <a:pt x="824" y="349"/>
                      <a:pt x="412" y="698"/>
                      <a:pt x="1" y="1046"/>
                    </a:cubicBezTo>
                    <a:lnTo>
                      <a:pt x="381" y="1489"/>
                    </a:lnTo>
                    <a:cubicBezTo>
                      <a:pt x="792" y="1173"/>
                      <a:pt x="1236" y="793"/>
                      <a:pt x="1616" y="444"/>
                    </a:cubicBezTo>
                    <a:lnTo>
                      <a:pt x="120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7" name="Google Shape;837;p27"/>
              <p:cNvSpPr/>
              <p:nvPr/>
            </p:nvSpPr>
            <p:spPr>
              <a:xfrm>
                <a:off x="8069141" y="4395489"/>
                <a:ext cx="56212" cy="37829"/>
              </a:xfrm>
              <a:custGeom>
                <a:avLst/>
                <a:gdLst/>
                <a:ahLst/>
                <a:cxnLst/>
                <a:rect l="l" t="t" r="r" b="b"/>
                <a:pathLst>
                  <a:path w="1743" h="1173" extrusionOk="0">
                    <a:moveTo>
                      <a:pt x="1489" y="1"/>
                    </a:moveTo>
                    <a:cubicBezTo>
                      <a:pt x="1014" y="222"/>
                      <a:pt x="508" y="412"/>
                      <a:pt x="1" y="602"/>
                    </a:cubicBezTo>
                    <a:lnTo>
                      <a:pt x="223" y="1172"/>
                    </a:lnTo>
                    <a:cubicBezTo>
                      <a:pt x="729" y="982"/>
                      <a:pt x="1236" y="761"/>
                      <a:pt x="1743" y="539"/>
                    </a:cubicBezTo>
                    <a:lnTo>
                      <a:pt x="1489"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8" name="Google Shape;838;p27"/>
              <p:cNvSpPr/>
              <p:nvPr/>
            </p:nvSpPr>
            <p:spPr>
              <a:xfrm>
                <a:off x="7671853" y="4513976"/>
                <a:ext cx="54180" cy="28606"/>
              </a:xfrm>
              <a:custGeom>
                <a:avLst/>
                <a:gdLst/>
                <a:ahLst/>
                <a:cxnLst/>
                <a:rect l="l" t="t" r="r" b="b"/>
                <a:pathLst>
                  <a:path w="1680" h="887" extrusionOk="0">
                    <a:moveTo>
                      <a:pt x="1552" y="0"/>
                    </a:moveTo>
                    <a:cubicBezTo>
                      <a:pt x="1046" y="95"/>
                      <a:pt x="507" y="190"/>
                      <a:pt x="1" y="285"/>
                    </a:cubicBezTo>
                    <a:lnTo>
                      <a:pt x="96" y="887"/>
                    </a:lnTo>
                    <a:cubicBezTo>
                      <a:pt x="634" y="792"/>
                      <a:pt x="1141" y="665"/>
                      <a:pt x="1679" y="570"/>
                    </a:cubicBezTo>
                    <a:lnTo>
                      <a:pt x="155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39" name="Google Shape;839;p27"/>
              <p:cNvSpPr/>
              <p:nvPr/>
            </p:nvSpPr>
            <p:spPr>
              <a:xfrm>
                <a:off x="7972133" y="4433286"/>
                <a:ext cx="55180" cy="34765"/>
              </a:xfrm>
              <a:custGeom>
                <a:avLst/>
                <a:gdLst/>
                <a:ahLst/>
                <a:cxnLst/>
                <a:rect l="l" t="t" r="r" b="b"/>
                <a:pathLst>
                  <a:path w="1711" h="1078" extrusionOk="0">
                    <a:moveTo>
                      <a:pt x="1521" y="0"/>
                    </a:moveTo>
                    <a:cubicBezTo>
                      <a:pt x="1045" y="159"/>
                      <a:pt x="507" y="349"/>
                      <a:pt x="0" y="507"/>
                    </a:cubicBezTo>
                    <a:lnTo>
                      <a:pt x="190" y="1077"/>
                    </a:lnTo>
                    <a:cubicBezTo>
                      <a:pt x="697" y="919"/>
                      <a:pt x="1236" y="729"/>
                      <a:pt x="1711" y="570"/>
                    </a:cubicBezTo>
                    <a:lnTo>
                      <a:pt x="1521"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0" name="Google Shape;840;p27"/>
              <p:cNvSpPr/>
              <p:nvPr/>
            </p:nvSpPr>
            <p:spPr>
              <a:xfrm>
                <a:off x="7569717" y="4532358"/>
                <a:ext cx="54180" cy="26574"/>
              </a:xfrm>
              <a:custGeom>
                <a:avLst/>
                <a:gdLst/>
                <a:ahLst/>
                <a:cxnLst/>
                <a:rect l="l" t="t" r="r" b="b"/>
                <a:pathLst>
                  <a:path w="1680" h="824" extrusionOk="0">
                    <a:moveTo>
                      <a:pt x="1584" y="0"/>
                    </a:moveTo>
                    <a:cubicBezTo>
                      <a:pt x="1046" y="64"/>
                      <a:pt x="507" y="159"/>
                      <a:pt x="1" y="222"/>
                    </a:cubicBezTo>
                    <a:lnTo>
                      <a:pt x="64" y="824"/>
                    </a:lnTo>
                    <a:cubicBezTo>
                      <a:pt x="603" y="729"/>
                      <a:pt x="1141" y="665"/>
                      <a:pt x="1679" y="570"/>
                    </a:cubicBez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1" name="Google Shape;841;p27"/>
              <p:cNvSpPr/>
              <p:nvPr/>
            </p:nvSpPr>
            <p:spPr>
              <a:xfrm>
                <a:off x="7873061" y="4464956"/>
                <a:ext cx="55180" cy="32701"/>
              </a:xfrm>
              <a:custGeom>
                <a:avLst/>
                <a:gdLst/>
                <a:ahLst/>
                <a:cxnLst/>
                <a:rect l="l" t="t" r="r" b="b"/>
                <a:pathLst>
                  <a:path w="1711" h="1014" extrusionOk="0">
                    <a:moveTo>
                      <a:pt x="1552" y="0"/>
                    </a:moveTo>
                    <a:cubicBezTo>
                      <a:pt x="1046" y="127"/>
                      <a:pt x="539" y="285"/>
                      <a:pt x="1" y="412"/>
                    </a:cubicBezTo>
                    <a:lnTo>
                      <a:pt x="159" y="1013"/>
                    </a:lnTo>
                    <a:cubicBezTo>
                      <a:pt x="697" y="855"/>
                      <a:pt x="1204" y="728"/>
                      <a:pt x="1711" y="570"/>
                    </a:cubicBezTo>
                    <a:lnTo>
                      <a:pt x="155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2" name="Google Shape;842;p27"/>
              <p:cNvSpPr/>
              <p:nvPr/>
            </p:nvSpPr>
            <p:spPr>
              <a:xfrm>
                <a:off x="7772957" y="4491498"/>
                <a:ext cx="55212" cy="30670"/>
              </a:xfrm>
              <a:custGeom>
                <a:avLst/>
                <a:gdLst/>
                <a:ahLst/>
                <a:cxnLst/>
                <a:rect l="l" t="t" r="r" b="b"/>
                <a:pathLst>
                  <a:path w="1712" h="951" extrusionOk="0">
                    <a:moveTo>
                      <a:pt x="1553" y="0"/>
                    </a:moveTo>
                    <a:cubicBezTo>
                      <a:pt x="1046" y="127"/>
                      <a:pt x="539" y="254"/>
                      <a:pt x="1" y="349"/>
                    </a:cubicBezTo>
                    <a:lnTo>
                      <a:pt x="128" y="951"/>
                    </a:lnTo>
                    <a:cubicBezTo>
                      <a:pt x="666" y="824"/>
                      <a:pt x="1173" y="697"/>
                      <a:pt x="1711" y="571"/>
                    </a:cubicBezTo>
                    <a:lnTo>
                      <a:pt x="155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3" name="Google Shape;843;p27"/>
              <p:cNvSpPr/>
              <p:nvPr/>
            </p:nvSpPr>
            <p:spPr>
              <a:xfrm>
                <a:off x="7466582" y="4546645"/>
                <a:ext cx="54148" cy="25574"/>
              </a:xfrm>
              <a:custGeom>
                <a:avLst/>
                <a:gdLst/>
                <a:ahLst/>
                <a:cxnLst/>
                <a:rect l="l" t="t" r="r" b="b"/>
                <a:pathLst>
                  <a:path w="1679" h="793" extrusionOk="0">
                    <a:moveTo>
                      <a:pt x="1584" y="1"/>
                    </a:moveTo>
                    <a:cubicBezTo>
                      <a:pt x="1077" y="64"/>
                      <a:pt x="539" y="127"/>
                      <a:pt x="0" y="191"/>
                    </a:cubicBezTo>
                    <a:lnTo>
                      <a:pt x="64" y="792"/>
                    </a:lnTo>
                    <a:cubicBezTo>
                      <a:pt x="602" y="729"/>
                      <a:pt x="1140" y="666"/>
                      <a:pt x="1679" y="602"/>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4" name="Google Shape;844;p27"/>
              <p:cNvSpPr/>
              <p:nvPr/>
            </p:nvSpPr>
            <p:spPr>
              <a:xfrm>
                <a:off x="7690235" y="3411961"/>
                <a:ext cx="53148" cy="22511"/>
              </a:xfrm>
              <a:custGeom>
                <a:avLst/>
                <a:gdLst/>
                <a:ahLst/>
                <a:cxnLst/>
                <a:rect l="l" t="t" r="r" b="b"/>
                <a:pathLst>
                  <a:path w="1648" h="698" extrusionOk="0">
                    <a:moveTo>
                      <a:pt x="32" y="0"/>
                    </a:moveTo>
                    <a:lnTo>
                      <a:pt x="1" y="602"/>
                    </a:lnTo>
                    <a:cubicBezTo>
                      <a:pt x="539" y="634"/>
                      <a:pt x="1077" y="666"/>
                      <a:pt x="1616" y="697"/>
                    </a:cubicBezTo>
                    <a:lnTo>
                      <a:pt x="1648" y="95"/>
                    </a:lnTo>
                    <a:cubicBezTo>
                      <a:pt x="1141" y="64"/>
                      <a:pt x="571" y="32"/>
                      <a:pt x="3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5" name="Google Shape;845;p27"/>
              <p:cNvSpPr/>
              <p:nvPr/>
            </p:nvSpPr>
            <p:spPr>
              <a:xfrm>
                <a:off x="7587100" y="3407865"/>
                <a:ext cx="52116" cy="21479"/>
              </a:xfrm>
              <a:custGeom>
                <a:avLst/>
                <a:gdLst/>
                <a:ahLst/>
                <a:cxnLst/>
                <a:rect l="l" t="t" r="r" b="b"/>
                <a:pathLst>
                  <a:path w="1616" h="666" extrusionOk="0">
                    <a:moveTo>
                      <a:pt x="0" y="1"/>
                    </a:moveTo>
                    <a:lnTo>
                      <a:pt x="0" y="602"/>
                    </a:lnTo>
                    <a:cubicBezTo>
                      <a:pt x="539" y="634"/>
                      <a:pt x="1077" y="634"/>
                      <a:pt x="1615" y="666"/>
                    </a:cubicBezTo>
                    <a:lnTo>
                      <a:pt x="1615" y="64"/>
                    </a:lnTo>
                    <a:cubicBezTo>
                      <a:pt x="1077" y="32"/>
                      <a:pt x="539" y="32"/>
                      <a:pt x="0"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6" name="Google Shape;846;p27"/>
              <p:cNvSpPr/>
              <p:nvPr/>
            </p:nvSpPr>
            <p:spPr>
              <a:xfrm>
                <a:off x="7793403" y="3419121"/>
                <a:ext cx="54148" cy="24542"/>
              </a:xfrm>
              <a:custGeom>
                <a:avLst/>
                <a:gdLst/>
                <a:ahLst/>
                <a:cxnLst/>
                <a:rect l="l" t="t" r="r" b="b"/>
                <a:pathLst>
                  <a:path w="1679" h="761" extrusionOk="0">
                    <a:moveTo>
                      <a:pt x="64" y="0"/>
                    </a:moveTo>
                    <a:lnTo>
                      <a:pt x="0" y="602"/>
                    </a:lnTo>
                    <a:cubicBezTo>
                      <a:pt x="539" y="634"/>
                      <a:pt x="1077" y="697"/>
                      <a:pt x="1584" y="760"/>
                    </a:cubicBezTo>
                    <a:lnTo>
                      <a:pt x="1679" y="158"/>
                    </a:lnTo>
                    <a:cubicBezTo>
                      <a:pt x="1140" y="95"/>
                      <a:pt x="602" y="63"/>
                      <a:pt x="64"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7" name="Google Shape;847;p27"/>
              <p:cNvSpPr/>
              <p:nvPr/>
            </p:nvSpPr>
            <p:spPr>
              <a:xfrm>
                <a:off x="8472588" y="4070700"/>
                <a:ext cx="39861" cy="55212"/>
              </a:xfrm>
              <a:custGeom>
                <a:avLst/>
                <a:gdLst/>
                <a:ahLst/>
                <a:cxnLst/>
                <a:rect l="l" t="t" r="r" b="b"/>
                <a:pathLst>
                  <a:path w="1236" h="1712" extrusionOk="0">
                    <a:moveTo>
                      <a:pt x="697" y="1"/>
                    </a:moveTo>
                    <a:cubicBezTo>
                      <a:pt x="507" y="476"/>
                      <a:pt x="254" y="951"/>
                      <a:pt x="0" y="1426"/>
                    </a:cubicBezTo>
                    <a:lnTo>
                      <a:pt x="539" y="1711"/>
                    </a:lnTo>
                    <a:cubicBezTo>
                      <a:pt x="792" y="1236"/>
                      <a:pt x="1045" y="729"/>
                      <a:pt x="1235" y="254"/>
                    </a:cubicBezTo>
                    <a:lnTo>
                      <a:pt x="697"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8" name="Google Shape;848;p27"/>
              <p:cNvSpPr/>
              <p:nvPr/>
            </p:nvSpPr>
            <p:spPr>
              <a:xfrm>
                <a:off x="8447046" y="3676476"/>
                <a:ext cx="43957" cy="54180"/>
              </a:xfrm>
              <a:custGeom>
                <a:avLst/>
                <a:gdLst/>
                <a:ahLst/>
                <a:cxnLst/>
                <a:rect l="l" t="t" r="r" b="b"/>
                <a:pathLst>
                  <a:path w="1363" h="1680" extrusionOk="0">
                    <a:moveTo>
                      <a:pt x="444" y="1"/>
                    </a:moveTo>
                    <a:lnTo>
                      <a:pt x="1" y="381"/>
                    </a:lnTo>
                    <a:cubicBezTo>
                      <a:pt x="317" y="792"/>
                      <a:pt x="602" y="1204"/>
                      <a:pt x="856" y="1679"/>
                    </a:cubicBezTo>
                    <a:lnTo>
                      <a:pt x="1362" y="1362"/>
                    </a:lnTo>
                    <a:cubicBezTo>
                      <a:pt x="1109" y="887"/>
                      <a:pt x="792" y="444"/>
                      <a:pt x="444"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49" name="Google Shape;849;p27"/>
              <p:cNvSpPr/>
              <p:nvPr/>
            </p:nvSpPr>
            <p:spPr>
              <a:xfrm>
                <a:off x="8496066" y="3768388"/>
                <a:ext cx="34765" cy="55212"/>
              </a:xfrm>
              <a:custGeom>
                <a:avLst/>
                <a:gdLst/>
                <a:ahLst/>
                <a:cxnLst/>
                <a:rect l="l" t="t" r="r" b="b"/>
                <a:pathLst>
                  <a:path w="1078" h="1712" extrusionOk="0">
                    <a:moveTo>
                      <a:pt x="571" y="1"/>
                    </a:moveTo>
                    <a:lnTo>
                      <a:pt x="1" y="223"/>
                    </a:lnTo>
                    <a:cubicBezTo>
                      <a:pt x="191" y="698"/>
                      <a:pt x="349" y="1204"/>
                      <a:pt x="476" y="1711"/>
                    </a:cubicBezTo>
                    <a:lnTo>
                      <a:pt x="1077" y="1553"/>
                    </a:lnTo>
                    <a:cubicBezTo>
                      <a:pt x="919" y="1014"/>
                      <a:pt x="761" y="508"/>
                      <a:pt x="571"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0" name="Google Shape;850;p27"/>
              <p:cNvSpPr/>
              <p:nvPr/>
            </p:nvSpPr>
            <p:spPr>
              <a:xfrm>
                <a:off x="8511385" y="3973692"/>
                <a:ext cx="28638" cy="54148"/>
              </a:xfrm>
              <a:custGeom>
                <a:avLst/>
                <a:gdLst/>
                <a:ahLst/>
                <a:cxnLst/>
                <a:rect l="l" t="t" r="r" b="b"/>
                <a:pathLst>
                  <a:path w="888" h="1679" extrusionOk="0">
                    <a:moveTo>
                      <a:pt x="286" y="0"/>
                    </a:moveTo>
                    <a:cubicBezTo>
                      <a:pt x="222" y="539"/>
                      <a:pt x="127" y="1045"/>
                      <a:pt x="1" y="1552"/>
                    </a:cubicBezTo>
                    <a:lnTo>
                      <a:pt x="571" y="1679"/>
                    </a:lnTo>
                    <a:cubicBezTo>
                      <a:pt x="697" y="1172"/>
                      <a:pt x="824" y="634"/>
                      <a:pt x="887" y="95"/>
                    </a:cubicBezTo>
                    <a:lnTo>
                      <a:pt x="28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1" name="Google Shape;851;p27"/>
              <p:cNvSpPr/>
              <p:nvPr/>
            </p:nvSpPr>
            <p:spPr>
              <a:xfrm>
                <a:off x="8520576" y="3870524"/>
                <a:ext cx="22510" cy="53148"/>
              </a:xfrm>
              <a:custGeom>
                <a:avLst/>
                <a:gdLst/>
                <a:ahLst/>
                <a:cxnLst/>
                <a:rect l="l" t="t" r="r" b="b"/>
                <a:pathLst>
                  <a:path w="698" h="1648" extrusionOk="0">
                    <a:moveTo>
                      <a:pt x="602" y="1"/>
                    </a:moveTo>
                    <a:lnTo>
                      <a:pt x="1" y="64"/>
                    </a:lnTo>
                    <a:cubicBezTo>
                      <a:pt x="64" y="571"/>
                      <a:pt x="96" y="1109"/>
                      <a:pt x="96" y="1648"/>
                    </a:cubicBezTo>
                    <a:lnTo>
                      <a:pt x="697" y="1648"/>
                    </a:lnTo>
                    <a:cubicBezTo>
                      <a:pt x="697" y="1078"/>
                      <a:pt x="666" y="539"/>
                      <a:pt x="602"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2" name="Google Shape;852;p27"/>
              <p:cNvSpPr/>
              <p:nvPr/>
            </p:nvSpPr>
            <p:spPr>
              <a:xfrm>
                <a:off x="7896539" y="3430344"/>
                <a:ext cx="54180" cy="26574"/>
              </a:xfrm>
              <a:custGeom>
                <a:avLst/>
                <a:gdLst/>
                <a:ahLst/>
                <a:cxnLst/>
                <a:rect l="l" t="t" r="r" b="b"/>
                <a:pathLst>
                  <a:path w="1680" h="824" extrusionOk="0">
                    <a:moveTo>
                      <a:pt x="64" y="1"/>
                    </a:moveTo>
                    <a:lnTo>
                      <a:pt x="1" y="602"/>
                    </a:lnTo>
                    <a:cubicBezTo>
                      <a:pt x="539" y="666"/>
                      <a:pt x="1046" y="761"/>
                      <a:pt x="1584" y="824"/>
                    </a:cubicBezTo>
                    <a:lnTo>
                      <a:pt x="1679" y="254"/>
                    </a:lnTo>
                    <a:cubicBezTo>
                      <a:pt x="1141" y="159"/>
                      <a:pt x="603" y="64"/>
                      <a:pt x="64"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3" name="Google Shape;853;p27"/>
              <p:cNvSpPr/>
              <p:nvPr/>
            </p:nvSpPr>
            <p:spPr>
              <a:xfrm>
                <a:off x="7997675" y="3447694"/>
                <a:ext cx="55180" cy="28638"/>
              </a:xfrm>
              <a:custGeom>
                <a:avLst/>
                <a:gdLst/>
                <a:ahLst/>
                <a:cxnLst/>
                <a:rect l="l" t="t" r="r" b="b"/>
                <a:pathLst>
                  <a:path w="1711" h="888" extrusionOk="0">
                    <a:moveTo>
                      <a:pt x="127" y="1"/>
                    </a:moveTo>
                    <a:lnTo>
                      <a:pt x="0" y="571"/>
                    </a:lnTo>
                    <a:cubicBezTo>
                      <a:pt x="539" y="666"/>
                      <a:pt x="1077" y="793"/>
                      <a:pt x="1584" y="888"/>
                    </a:cubicBezTo>
                    <a:lnTo>
                      <a:pt x="1710" y="318"/>
                    </a:lnTo>
                    <a:cubicBezTo>
                      <a:pt x="1204" y="191"/>
                      <a:pt x="665" y="96"/>
                      <a:pt x="12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4" name="Google Shape;854;p27"/>
              <p:cNvSpPr/>
              <p:nvPr/>
            </p:nvSpPr>
            <p:spPr>
              <a:xfrm>
                <a:off x="8098778" y="3470172"/>
                <a:ext cx="45988" cy="24542"/>
              </a:xfrm>
              <a:custGeom>
                <a:avLst/>
                <a:gdLst/>
                <a:ahLst/>
                <a:cxnLst/>
                <a:rect l="l" t="t" r="r" b="b"/>
                <a:pathLst>
                  <a:path w="1426" h="761" extrusionOk="0">
                    <a:moveTo>
                      <a:pt x="127" y="1"/>
                    </a:moveTo>
                    <a:lnTo>
                      <a:pt x="0" y="571"/>
                    </a:lnTo>
                    <a:cubicBezTo>
                      <a:pt x="222" y="634"/>
                      <a:pt x="444" y="697"/>
                      <a:pt x="665" y="761"/>
                    </a:cubicBezTo>
                    <a:cubicBezTo>
                      <a:pt x="919" y="634"/>
                      <a:pt x="1172" y="507"/>
                      <a:pt x="1425" y="381"/>
                    </a:cubicBezTo>
                    <a:cubicBezTo>
                      <a:pt x="1014" y="254"/>
                      <a:pt x="570" y="127"/>
                      <a:pt x="12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5" name="Google Shape;855;p27"/>
              <p:cNvSpPr/>
              <p:nvPr/>
            </p:nvSpPr>
            <p:spPr>
              <a:xfrm>
                <a:off x="7363414" y="4557868"/>
                <a:ext cx="54180" cy="23543"/>
              </a:xfrm>
              <a:custGeom>
                <a:avLst/>
                <a:gdLst/>
                <a:ahLst/>
                <a:cxnLst/>
                <a:rect l="l" t="t" r="r" b="b"/>
                <a:pathLst>
                  <a:path w="1680" h="730" extrusionOk="0">
                    <a:moveTo>
                      <a:pt x="1616" y="1"/>
                    </a:moveTo>
                    <a:cubicBezTo>
                      <a:pt x="1077" y="64"/>
                      <a:pt x="539" y="96"/>
                      <a:pt x="1" y="128"/>
                    </a:cubicBezTo>
                    <a:lnTo>
                      <a:pt x="64" y="729"/>
                    </a:lnTo>
                    <a:cubicBezTo>
                      <a:pt x="602" y="698"/>
                      <a:pt x="1141" y="634"/>
                      <a:pt x="1679" y="603"/>
                    </a:cubicBezTo>
                    <a:lnTo>
                      <a:pt x="1616"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6" name="Google Shape;856;p27"/>
              <p:cNvSpPr/>
              <p:nvPr/>
            </p:nvSpPr>
            <p:spPr>
              <a:xfrm>
                <a:off x="6120467" y="4572187"/>
                <a:ext cx="52116" cy="19447"/>
              </a:xfrm>
              <a:custGeom>
                <a:avLst/>
                <a:gdLst/>
                <a:ahLst/>
                <a:cxnLst/>
                <a:rect l="l" t="t" r="r" b="b"/>
                <a:pathLst>
                  <a:path w="1616" h="603" extrusionOk="0">
                    <a:moveTo>
                      <a:pt x="0" y="0"/>
                    </a:moveTo>
                    <a:lnTo>
                      <a:pt x="0"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7" name="Google Shape;857;p27"/>
              <p:cNvSpPr/>
              <p:nvPr/>
            </p:nvSpPr>
            <p:spPr>
              <a:xfrm>
                <a:off x="7052943"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8" name="Google Shape;858;p27"/>
              <p:cNvSpPr/>
              <p:nvPr/>
            </p:nvSpPr>
            <p:spPr>
              <a:xfrm>
                <a:off x="6224634" y="4572187"/>
                <a:ext cx="51116" cy="19447"/>
              </a:xfrm>
              <a:custGeom>
                <a:avLst/>
                <a:gdLst/>
                <a:ahLst/>
                <a:cxnLst/>
                <a:rect l="l" t="t" r="r" b="b"/>
                <a:pathLst>
                  <a:path w="1585" h="603" extrusionOk="0">
                    <a:moveTo>
                      <a:pt x="1" y="0"/>
                    </a:moveTo>
                    <a:lnTo>
                      <a:pt x="1" y="602"/>
                    </a:lnTo>
                    <a:lnTo>
                      <a:pt x="1584" y="602"/>
                    </a:ln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59" name="Google Shape;859;p27"/>
              <p:cNvSpPr/>
              <p:nvPr/>
            </p:nvSpPr>
            <p:spPr>
              <a:xfrm>
                <a:off x="6846640" y="4572187"/>
                <a:ext cx="51084" cy="19447"/>
              </a:xfrm>
              <a:custGeom>
                <a:avLst/>
                <a:gdLst/>
                <a:ahLst/>
                <a:cxnLst/>
                <a:rect l="l" t="t" r="r" b="b"/>
                <a:pathLst>
                  <a:path w="1584" h="603" extrusionOk="0">
                    <a:moveTo>
                      <a:pt x="0" y="0"/>
                    </a:moveTo>
                    <a:lnTo>
                      <a:pt x="0" y="602"/>
                    </a:lnTo>
                    <a:lnTo>
                      <a:pt x="1584" y="602"/>
                    </a:ln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0" name="Google Shape;860;p27"/>
              <p:cNvSpPr/>
              <p:nvPr/>
            </p:nvSpPr>
            <p:spPr>
              <a:xfrm>
                <a:off x="7157111" y="4571155"/>
                <a:ext cx="52116" cy="20479"/>
              </a:xfrm>
              <a:custGeom>
                <a:avLst/>
                <a:gdLst/>
                <a:ahLst/>
                <a:cxnLst/>
                <a:rect l="l" t="t" r="r" b="b"/>
                <a:pathLst>
                  <a:path w="1616" h="635" extrusionOk="0">
                    <a:moveTo>
                      <a:pt x="1616" y="1"/>
                    </a:moveTo>
                    <a:cubicBezTo>
                      <a:pt x="1077" y="1"/>
                      <a:pt x="539" y="32"/>
                      <a:pt x="0" y="32"/>
                    </a:cubicBezTo>
                    <a:lnTo>
                      <a:pt x="0" y="634"/>
                    </a:lnTo>
                    <a:cubicBezTo>
                      <a:pt x="539" y="602"/>
                      <a:pt x="1077" y="602"/>
                      <a:pt x="1616" y="602"/>
                    </a:cubicBezTo>
                    <a:lnTo>
                      <a:pt x="1616"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1" name="Google Shape;861;p27"/>
              <p:cNvSpPr/>
              <p:nvPr/>
            </p:nvSpPr>
            <p:spPr>
              <a:xfrm>
                <a:off x="7260278" y="4566060"/>
                <a:ext cx="53116" cy="22511"/>
              </a:xfrm>
              <a:custGeom>
                <a:avLst/>
                <a:gdLst/>
                <a:ahLst/>
                <a:cxnLst/>
                <a:rect l="l" t="t" r="r" b="b"/>
                <a:pathLst>
                  <a:path w="1647" h="698" extrusionOk="0">
                    <a:moveTo>
                      <a:pt x="1615" y="0"/>
                    </a:moveTo>
                    <a:cubicBezTo>
                      <a:pt x="1077" y="32"/>
                      <a:pt x="538" y="64"/>
                      <a:pt x="0" y="95"/>
                    </a:cubicBezTo>
                    <a:lnTo>
                      <a:pt x="32" y="697"/>
                    </a:lnTo>
                    <a:cubicBezTo>
                      <a:pt x="570" y="665"/>
                      <a:pt x="1108" y="634"/>
                      <a:pt x="1647" y="602"/>
                    </a:cubicBez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2" name="Google Shape;862;p27"/>
              <p:cNvSpPr/>
              <p:nvPr/>
            </p:nvSpPr>
            <p:spPr>
              <a:xfrm>
                <a:off x="6949775"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3" name="Google Shape;863;p27"/>
              <p:cNvSpPr/>
              <p:nvPr/>
            </p:nvSpPr>
            <p:spPr>
              <a:xfrm>
                <a:off x="6327802"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4" name="Google Shape;864;p27"/>
              <p:cNvSpPr/>
              <p:nvPr/>
            </p:nvSpPr>
            <p:spPr>
              <a:xfrm>
                <a:off x="6430937"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5" name="Google Shape;865;p27"/>
              <p:cNvSpPr/>
              <p:nvPr/>
            </p:nvSpPr>
            <p:spPr>
              <a:xfrm>
                <a:off x="6639305" y="4572187"/>
                <a:ext cx="51084" cy="19447"/>
              </a:xfrm>
              <a:custGeom>
                <a:avLst/>
                <a:gdLst/>
                <a:ahLst/>
                <a:cxnLst/>
                <a:rect l="l" t="t" r="r" b="b"/>
                <a:pathLst>
                  <a:path w="1584" h="603" extrusionOk="0">
                    <a:moveTo>
                      <a:pt x="0" y="0"/>
                    </a:moveTo>
                    <a:lnTo>
                      <a:pt x="0" y="602"/>
                    </a:lnTo>
                    <a:lnTo>
                      <a:pt x="1584" y="602"/>
                    </a:ln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6" name="Google Shape;866;p27"/>
              <p:cNvSpPr/>
              <p:nvPr/>
            </p:nvSpPr>
            <p:spPr>
              <a:xfrm>
                <a:off x="6742440"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7" name="Google Shape;867;p27"/>
              <p:cNvSpPr/>
              <p:nvPr/>
            </p:nvSpPr>
            <p:spPr>
              <a:xfrm>
                <a:off x="6535137"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8" name="Google Shape;868;p27"/>
              <p:cNvSpPr/>
              <p:nvPr/>
            </p:nvSpPr>
            <p:spPr>
              <a:xfrm>
                <a:off x="7482900" y="3407865"/>
                <a:ext cx="51116" cy="19447"/>
              </a:xfrm>
              <a:custGeom>
                <a:avLst/>
                <a:gdLst/>
                <a:ahLst/>
                <a:cxnLst/>
                <a:rect l="l" t="t" r="r" b="b"/>
                <a:pathLst>
                  <a:path w="1585" h="603" extrusionOk="0">
                    <a:moveTo>
                      <a:pt x="1" y="1"/>
                    </a:moveTo>
                    <a:lnTo>
                      <a:pt x="1" y="602"/>
                    </a:lnTo>
                    <a:cubicBezTo>
                      <a:pt x="286" y="602"/>
                      <a:pt x="539" y="571"/>
                      <a:pt x="793" y="571"/>
                    </a:cubicBezTo>
                    <a:cubicBezTo>
                      <a:pt x="1078" y="571"/>
                      <a:pt x="1331" y="571"/>
                      <a:pt x="1584" y="602"/>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69" name="Google Shape;869;p27"/>
              <p:cNvSpPr/>
              <p:nvPr/>
            </p:nvSpPr>
            <p:spPr>
              <a:xfrm>
                <a:off x="7581972" y="3768388"/>
                <a:ext cx="54180" cy="27606"/>
              </a:xfrm>
              <a:custGeom>
                <a:avLst/>
                <a:gdLst/>
                <a:ahLst/>
                <a:cxnLst/>
                <a:rect l="l" t="t" r="r" b="b"/>
                <a:pathLst>
                  <a:path w="1680" h="856" extrusionOk="0">
                    <a:moveTo>
                      <a:pt x="1584" y="1"/>
                    </a:moveTo>
                    <a:cubicBezTo>
                      <a:pt x="1046" y="96"/>
                      <a:pt x="508" y="191"/>
                      <a:pt x="1" y="254"/>
                    </a:cubicBezTo>
                    <a:lnTo>
                      <a:pt x="64" y="856"/>
                    </a:lnTo>
                    <a:cubicBezTo>
                      <a:pt x="603" y="761"/>
                      <a:pt x="1141" y="698"/>
                      <a:pt x="1679"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0" name="Google Shape;870;p27"/>
              <p:cNvSpPr/>
              <p:nvPr/>
            </p:nvSpPr>
            <p:spPr>
              <a:xfrm>
                <a:off x="7982356" y="3668316"/>
                <a:ext cx="55180" cy="34765"/>
              </a:xfrm>
              <a:custGeom>
                <a:avLst/>
                <a:gdLst/>
                <a:ahLst/>
                <a:cxnLst/>
                <a:rect l="l" t="t" r="r" b="b"/>
                <a:pathLst>
                  <a:path w="1711" h="1078" extrusionOk="0">
                    <a:moveTo>
                      <a:pt x="1489" y="0"/>
                    </a:moveTo>
                    <a:cubicBezTo>
                      <a:pt x="1014" y="190"/>
                      <a:pt x="507" y="349"/>
                      <a:pt x="0" y="507"/>
                    </a:cubicBezTo>
                    <a:lnTo>
                      <a:pt x="190" y="1077"/>
                    </a:lnTo>
                    <a:cubicBezTo>
                      <a:pt x="697" y="919"/>
                      <a:pt x="1204" y="760"/>
                      <a:pt x="1710" y="570"/>
                    </a:cubicBezTo>
                    <a:lnTo>
                      <a:pt x="1489"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1" name="Google Shape;871;p27"/>
              <p:cNvSpPr/>
              <p:nvPr/>
            </p:nvSpPr>
            <p:spPr>
              <a:xfrm>
                <a:off x="7897571" y="1907563"/>
                <a:ext cx="53148" cy="26574"/>
              </a:xfrm>
              <a:custGeom>
                <a:avLst/>
                <a:gdLst/>
                <a:ahLst/>
                <a:cxnLst/>
                <a:rect l="l" t="t" r="r" b="b"/>
                <a:pathLst>
                  <a:path w="1648" h="824" extrusionOk="0">
                    <a:moveTo>
                      <a:pt x="64" y="0"/>
                    </a:moveTo>
                    <a:lnTo>
                      <a:pt x="1" y="602"/>
                    </a:lnTo>
                    <a:cubicBezTo>
                      <a:pt x="507" y="665"/>
                      <a:pt x="1046" y="760"/>
                      <a:pt x="1552" y="824"/>
                    </a:cubicBezTo>
                    <a:lnTo>
                      <a:pt x="1647" y="222"/>
                    </a:lnTo>
                    <a:cubicBezTo>
                      <a:pt x="1141" y="159"/>
                      <a:pt x="602" y="64"/>
                      <a:pt x="64"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2" name="Google Shape;872;p27"/>
              <p:cNvSpPr/>
              <p:nvPr/>
            </p:nvSpPr>
            <p:spPr>
              <a:xfrm>
                <a:off x="7895539" y="2669469"/>
                <a:ext cx="54148" cy="26574"/>
              </a:xfrm>
              <a:custGeom>
                <a:avLst/>
                <a:gdLst/>
                <a:ahLst/>
                <a:cxnLst/>
                <a:rect l="l" t="t" r="r" b="b"/>
                <a:pathLst>
                  <a:path w="1679" h="824" extrusionOk="0">
                    <a:moveTo>
                      <a:pt x="95" y="0"/>
                    </a:moveTo>
                    <a:lnTo>
                      <a:pt x="0" y="570"/>
                    </a:lnTo>
                    <a:cubicBezTo>
                      <a:pt x="539" y="665"/>
                      <a:pt x="1077" y="729"/>
                      <a:pt x="1584" y="824"/>
                    </a:cubicBezTo>
                    <a:lnTo>
                      <a:pt x="1679" y="222"/>
                    </a:lnTo>
                    <a:cubicBezTo>
                      <a:pt x="1140" y="127"/>
                      <a:pt x="634" y="64"/>
                      <a:pt x="9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3" name="Google Shape;873;p27"/>
              <p:cNvSpPr/>
              <p:nvPr/>
            </p:nvSpPr>
            <p:spPr>
              <a:xfrm>
                <a:off x="7996643" y="2685788"/>
                <a:ext cx="55180" cy="28638"/>
              </a:xfrm>
              <a:custGeom>
                <a:avLst/>
                <a:gdLst/>
                <a:ahLst/>
                <a:cxnLst/>
                <a:rect l="l" t="t" r="r" b="b"/>
                <a:pathLst>
                  <a:path w="1711" h="888" extrusionOk="0">
                    <a:moveTo>
                      <a:pt x="127" y="1"/>
                    </a:moveTo>
                    <a:lnTo>
                      <a:pt x="0" y="571"/>
                    </a:lnTo>
                    <a:cubicBezTo>
                      <a:pt x="539" y="666"/>
                      <a:pt x="1046" y="793"/>
                      <a:pt x="1552" y="888"/>
                    </a:cubicBezTo>
                    <a:lnTo>
                      <a:pt x="1711" y="318"/>
                    </a:lnTo>
                    <a:cubicBezTo>
                      <a:pt x="1204" y="191"/>
                      <a:pt x="666" y="96"/>
                      <a:pt x="12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4" name="Google Shape;874;p27"/>
              <p:cNvSpPr/>
              <p:nvPr/>
            </p:nvSpPr>
            <p:spPr>
              <a:xfrm>
                <a:off x="7884284" y="3700986"/>
                <a:ext cx="54180" cy="32734"/>
              </a:xfrm>
              <a:custGeom>
                <a:avLst/>
                <a:gdLst/>
                <a:ahLst/>
                <a:cxnLst/>
                <a:rect l="l" t="t" r="r" b="b"/>
                <a:pathLst>
                  <a:path w="1680" h="1015" extrusionOk="0">
                    <a:moveTo>
                      <a:pt x="1521" y="1"/>
                    </a:moveTo>
                    <a:cubicBezTo>
                      <a:pt x="1014" y="127"/>
                      <a:pt x="508" y="286"/>
                      <a:pt x="1" y="412"/>
                    </a:cubicBezTo>
                    <a:lnTo>
                      <a:pt x="159" y="1014"/>
                    </a:lnTo>
                    <a:cubicBezTo>
                      <a:pt x="666" y="856"/>
                      <a:pt x="1204" y="697"/>
                      <a:pt x="1679" y="571"/>
                    </a:cubicBezTo>
                    <a:lnTo>
                      <a:pt x="1521"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5" name="Google Shape;875;p27"/>
              <p:cNvSpPr/>
              <p:nvPr/>
            </p:nvSpPr>
            <p:spPr>
              <a:xfrm>
                <a:off x="8170277" y="2824689"/>
                <a:ext cx="54148" cy="40893"/>
              </a:xfrm>
              <a:custGeom>
                <a:avLst/>
                <a:gdLst/>
                <a:ahLst/>
                <a:cxnLst/>
                <a:rect l="l" t="t" r="r" b="b"/>
                <a:pathLst>
                  <a:path w="1679" h="1268" extrusionOk="0">
                    <a:moveTo>
                      <a:pt x="1394" y="1"/>
                    </a:moveTo>
                    <a:cubicBezTo>
                      <a:pt x="950" y="254"/>
                      <a:pt x="475" y="508"/>
                      <a:pt x="0" y="729"/>
                    </a:cubicBezTo>
                    <a:lnTo>
                      <a:pt x="254" y="1268"/>
                    </a:lnTo>
                    <a:cubicBezTo>
                      <a:pt x="760" y="1046"/>
                      <a:pt x="1235" y="793"/>
                      <a:pt x="1679" y="539"/>
                    </a:cubicBezTo>
                    <a:lnTo>
                      <a:pt x="139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6" name="Google Shape;876;p27"/>
              <p:cNvSpPr/>
              <p:nvPr/>
            </p:nvSpPr>
            <p:spPr>
              <a:xfrm>
                <a:off x="8258093" y="2773637"/>
                <a:ext cx="55180" cy="41893"/>
              </a:xfrm>
              <a:custGeom>
                <a:avLst/>
                <a:gdLst/>
                <a:ahLst/>
                <a:cxnLst/>
                <a:rect l="l" t="t" r="r" b="b"/>
                <a:pathLst>
                  <a:path w="1711" h="1299" extrusionOk="0">
                    <a:moveTo>
                      <a:pt x="1394" y="0"/>
                    </a:moveTo>
                    <a:cubicBezTo>
                      <a:pt x="951" y="254"/>
                      <a:pt x="476" y="539"/>
                      <a:pt x="1" y="792"/>
                    </a:cubicBezTo>
                    <a:lnTo>
                      <a:pt x="286" y="1299"/>
                    </a:lnTo>
                    <a:cubicBezTo>
                      <a:pt x="761" y="1045"/>
                      <a:pt x="1236" y="792"/>
                      <a:pt x="1711" y="507"/>
                    </a:cubicBezTo>
                    <a:lnTo>
                      <a:pt x="139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7" name="Google Shape;877;p27"/>
              <p:cNvSpPr/>
              <p:nvPr/>
            </p:nvSpPr>
            <p:spPr>
              <a:xfrm>
                <a:off x="7998674" y="1923882"/>
                <a:ext cx="54180" cy="29670"/>
              </a:xfrm>
              <a:custGeom>
                <a:avLst/>
                <a:gdLst/>
                <a:ahLst/>
                <a:cxnLst/>
                <a:rect l="l" t="t" r="r" b="b"/>
                <a:pathLst>
                  <a:path w="1680" h="920" extrusionOk="0">
                    <a:moveTo>
                      <a:pt x="96" y="1"/>
                    </a:moveTo>
                    <a:lnTo>
                      <a:pt x="1" y="603"/>
                    </a:lnTo>
                    <a:cubicBezTo>
                      <a:pt x="508" y="698"/>
                      <a:pt x="1046" y="824"/>
                      <a:pt x="1553" y="919"/>
                    </a:cubicBezTo>
                    <a:lnTo>
                      <a:pt x="1679" y="349"/>
                    </a:lnTo>
                    <a:cubicBezTo>
                      <a:pt x="1173" y="223"/>
                      <a:pt x="634" y="128"/>
                      <a:pt x="9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8" name="Google Shape;878;p27"/>
              <p:cNvSpPr/>
              <p:nvPr/>
            </p:nvSpPr>
            <p:spPr>
              <a:xfrm>
                <a:off x="8172308" y="3585595"/>
                <a:ext cx="55180" cy="40861"/>
              </a:xfrm>
              <a:custGeom>
                <a:avLst/>
                <a:gdLst/>
                <a:ahLst/>
                <a:cxnLst/>
                <a:rect l="l" t="t" r="r" b="b"/>
                <a:pathLst>
                  <a:path w="1711" h="1267" extrusionOk="0">
                    <a:moveTo>
                      <a:pt x="1426" y="0"/>
                    </a:moveTo>
                    <a:cubicBezTo>
                      <a:pt x="951" y="254"/>
                      <a:pt x="507" y="475"/>
                      <a:pt x="1" y="729"/>
                    </a:cubicBezTo>
                    <a:lnTo>
                      <a:pt x="254" y="1267"/>
                    </a:lnTo>
                    <a:cubicBezTo>
                      <a:pt x="761" y="1014"/>
                      <a:pt x="1236" y="760"/>
                      <a:pt x="1711" y="507"/>
                    </a:cubicBezTo>
                    <a:lnTo>
                      <a:pt x="142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79" name="Google Shape;879;p27"/>
              <p:cNvSpPr/>
              <p:nvPr/>
            </p:nvSpPr>
            <p:spPr>
              <a:xfrm>
                <a:off x="8076300" y="2869645"/>
                <a:ext cx="55180" cy="37829"/>
              </a:xfrm>
              <a:custGeom>
                <a:avLst/>
                <a:gdLst/>
                <a:ahLst/>
                <a:cxnLst/>
                <a:rect l="l" t="t" r="r" b="b"/>
                <a:pathLst>
                  <a:path w="1711" h="1173" extrusionOk="0">
                    <a:moveTo>
                      <a:pt x="1457" y="0"/>
                    </a:moveTo>
                    <a:cubicBezTo>
                      <a:pt x="982" y="222"/>
                      <a:pt x="507" y="412"/>
                      <a:pt x="1" y="634"/>
                    </a:cubicBezTo>
                    <a:lnTo>
                      <a:pt x="222" y="1172"/>
                    </a:lnTo>
                    <a:cubicBezTo>
                      <a:pt x="729" y="982"/>
                      <a:pt x="1204" y="760"/>
                      <a:pt x="1711" y="539"/>
                    </a:cubicBezTo>
                    <a:lnTo>
                      <a:pt x="1457"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0" name="Google Shape;880;p27"/>
              <p:cNvSpPr/>
              <p:nvPr/>
            </p:nvSpPr>
            <p:spPr>
              <a:xfrm>
                <a:off x="8079364" y="3630519"/>
                <a:ext cx="54180" cy="37829"/>
              </a:xfrm>
              <a:custGeom>
                <a:avLst/>
                <a:gdLst/>
                <a:ahLst/>
                <a:cxnLst/>
                <a:rect l="l" t="t" r="r" b="b"/>
                <a:pathLst>
                  <a:path w="1680" h="1173" extrusionOk="0">
                    <a:moveTo>
                      <a:pt x="1457" y="1"/>
                    </a:moveTo>
                    <a:cubicBezTo>
                      <a:pt x="982" y="222"/>
                      <a:pt x="476" y="412"/>
                      <a:pt x="1" y="602"/>
                    </a:cubicBezTo>
                    <a:lnTo>
                      <a:pt x="222" y="1172"/>
                    </a:lnTo>
                    <a:cubicBezTo>
                      <a:pt x="697" y="982"/>
                      <a:pt x="1204" y="761"/>
                      <a:pt x="1679" y="539"/>
                    </a:cubicBezTo>
                    <a:lnTo>
                      <a:pt x="1457"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1" name="Google Shape;881;p27"/>
              <p:cNvSpPr/>
              <p:nvPr/>
            </p:nvSpPr>
            <p:spPr>
              <a:xfrm>
                <a:off x="7692299" y="1889181"/>
                <a:ext cx="53116" cy="22478"/>
              </a:xfrm>
              <a:custGeom>
                <a:avLst/>
                <a:gdLst/>
                <a:ahLst/>
                <a:cxnLst/>
                <a:rect l="l" t="t" r="r" b="b"/>
                <a:pathLst>
                  <a:path w="1647" h="697" extrusionOk="0">
                    <a:moveTo>
                      <a:pt x="32" y="0"/>
                    </a:moveTo>
                    <a:lnTo>
                      <a:pt x="0" y="602"/>
                    </a:lnTo>
                    <a:cubicBezTo>
                      <a:pt x="538" y="634"/>
                      <a:pt x="1077" y="665"/>
                      <a:pt x="1584" y="697"/>
                    </a:cubicBezTo>
                    <a:lnTo>
                      <a:pt x="1647" y="95"/>
                    </a:lnTo>
                    <a:cubicBezTo>
                      <a:pt x="1108" y="63"/>
                      <a:pt x="570" y="32"/>
                      <a:pt x="3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2" name="Google Shape;882;p27"/>
              <p:cNvSpPr/>
              <p:nvPr/>
            </p:nvSpPr>
            <p:spPr>
              <a:xfrm>
                <a:off x="7683108" y="3750006"/>
                <a:ext cx="54148" cy="28638"/>
              </a:xfrm>
              <a:custGeom>
                <a:avLst/>
                <a:gdLst/>
                <a:ahLst/>
                <a:cxnLst/>
                <a:rect l="l" t="t" r="r" b="b"/>
                <a:pathLst>
                  <a:path w="1679" h="888" extrusionOk="0">
                    <a:moveTo>
                      <a:pt x="1584" y="1"/>
                    </a:moveTo>
                    <a:cubicBezTo>
                      <a:pt x="1077" y="96"/>
                      <a:pt x="538" y="223"/>
                      <a:pt x="0" y="318"/>
                    </a:cubicBezTo>
                    <a:lnTo>
                      <a:pt x="127" y="888"/>
                    </a:lnTo>
                    <a:cubicBezTo>
                      <a:pt x="633" y="793"/>
                      <a:pt x="1172" y="698"/>
                      <a:pt x="1679"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3" name="Google Shape;883;p27"/>
              <p:cNvSpPr/>
              <p:nvPr/>
            </p:nvSpPr>
            <p:spPr>
              <a:xfrm>
                <a:off x="7881220" y="2939079"/>
                <a:ext cx="55180" cy="32734"/>
              </a:xfrm>
              <a:custGeom>
                <a:avLst/>
                <a:gdLst/>
                <a:ahLst/>
                <a:cxnLst/>
                <a:rect l="l" t="t" r="r" b="b"/>
                <a:pathLst>
                  <a:path w="1711" h="1015" extrusionOk="0">
                    <a:moveTo>
                      <a:pt x="1521" y="1"/>
                    </a:moveTo>
                    <a:cubicBezTo>
                      <a:pt x="1046" y="159"/>
                      <a:pt x="508" y="317"/>
                      <a:pt x="1" y="444"/>
                    </a:cubicBezTo>
                    <a:lnTo>
                      <a:pt x="159" y="1014"/>
                    </a:lnTo>
                    <a:cubicBezTo>
                      <a:pt x="666" y="887"/>
                      <a:pt x="1204" y="729"/>
                      <a:pt x="1711" y="602"/>
                    </a:cubicBezTo>
                    <a:lnTo>
                      <a:pt x="1521"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4" name="Google Shape;884;p27"/>
              <p:cNvSpPr/>
              <p:nvPr/>
            </p:nvSpPr>
            <p:spPr>
              <a:xfrm>
                <a:off x="7590164" y="1885085"/>
                <a:ext cx="51084" cy="20447"/>
              </a:xfrm>
              <a:custGeom>
                <a:avLst/>
                <a:gdLst/>
                <a:ahLst/>
                <a:cxnLst/>
                <a:rect l="l" t="t" r="r" b="b"/>
                <a:pathLst>
                  <a:path w="1584" h="634" extrusionOk="0">
                    <a:moveTo>
                      <a:pt x="0" y="0"/>
                    </a:moveTo>
                    <a:lnTo>
                      <a:pt x="0" y="602"/>
                    </a:lnTo>
                    <a:cubicBezTo>
                      <a:pt x="507" y="602"/>
                      <a:pt x="1045" y="634"/>
                      <a:pt x="1584" y="634"/>
                    </a:cubicBezTo>
                    <a:lnTo>
                      <a:pt x="1584" y="64"/>
                    </a:lnTo>
                    <a:cubicBezTo>
                      <a:pt x="1077" y="32"/>
                      <a:pt x="539" y="32"/>
                      <a:pt x="0"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5" name="Google Shape;885;p27"/>
              <p:cNvSpPr/>
              <p:nvPr/>
            </p:nvSpPr>
            <p:spPr>
              <a:xfrm>
                <a:off x="7681044" y="2989131"/>
                <a:ext cx="54180" cy="28638"/>
              </a:xfrm>
              <a:custGeom>
                <a:avLst/>
                <a:gdLst/>
                <a:ahLst/>
                <a:cxnLst/>
                <a:rect l="l" t="t" r="r" b="b"/>
                <a:pathLst>
                  <a:path w="1680" h="888" extrusionOk="0">
                    <a:moveTo>
                      <a:pt x="1553" y="1"/>
                    </a:moveTo>
                    <a:cubicBezTo>
                      <a:pt x="1046" y="96"/>
                      <a:pt x="507" y="191"/>
                      <a:pt x="1" y="286"/>
                    </a:cubicBezTo>
                    <a:lnTo>
                      <a:pt x="96" y="887"/>
                    </a:lnTo>
                    <a:cubicBezTo>
                      <a:pt x="634" y="792"/>
                      <a:pt x="1172" y="666"/>
                      <a:pt x="1679" y="571"/>
                    </a:cubicBezTo>
                    <a:lnTo>
                      <a:pt x="1553"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6" name="Google Shape;886;p27"/>
              <p:cNvSpPr/>
              <p:nvPr/>
            </p:nvSpPr>
            <p:spPr>
              <a:xfrm>
                <a:off x="7691267" y="2650055"/>
                <a:ext cx="52116" cy="22510"/>
              </a:xfrm>
              <a:custGeom>
                <a:avLst/>
                <a:gdLst/>
                <a:ahLst/>
                <a:cxnLst/>
                <a:rect l="l" t="t" r="r" b="b"/>
                <a:pathLst>
                  <a:path w="1616" h="698" extrusionOk="0">
                    <a:moveTo>
                      <a:pt x="32" y="0"/>
                    </a:moveTo>
                    <a:lnTo>
                      <a:pt x="0" y="602"/>
                    </a:lnTo>
                    <a:cubicBezTo>
                      <a:pt x="539" y="634"/>
                      <a:pt x="1045" y="666"/>
                      <a:pt x="1584" y="697"/>
                    </a:cubicBezTo>
                    <a:lnTo>
                      <a:pt x="1616" y="95"/>
                    </a:lnTo>
                    <a:cubicBezTo>
                      <a:pt x="1109" y="64"/>
                      <a:pt x="570" y="32"/>
                      <a:pt x="3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7" name="Google Shape;887;p27"/>
              <p:cNvSpPr/>
              <p:nvPr/>
            </p:nvSpPr>
            <p:spPr>
              <a:xfrm>
                <a:off x="7781148" y="2966653"/>
                <a:ext cx="55180" cy="30670"/>
              </a:xfrm>
              <a:custGeom>
                <a:avLst/>
                <a:gdLst/>
                <a:ahLst/>
                <a:cxnLst/>
                <a:rect l="l" t="t" r="r" b="b"/>
                <a:pathLst>
                  <a:path w="1711" h="951" extrusionOk="0">
                    <a:moveTo>
                      <a:pt x="1552" y="1"/>
                    </a:moveTo>
                    <a:cubicBezTo>
                      <a:pt x="1045" y="128"/>
                      <a:pt x="539" y="254"/>
                      <a:pt x="0" y="349"/>
                    </a:cubicBezTo>
                    <a:lnTo>
                      <a:pt x="127" y="951"/>
                    </a:lnTo>
                    <a:cubicBezTo>
                      <a:pt x="665" y="824"/>
                      <a:pt x="1204" y="698"/>
                      <a:pt x="1710" y="571"/>
                    </a:cubicBezTo>
                    <a:lnTo>
                      <a:pt x="1552"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8" name="Google Shape;888;p27"/>
              <p:cNvSpPr/>
              <p:nvPr/>
            </p:nvSpPr>
            <p:spPr>
              <a:xfrm>
                <a:off x="7793403" y="2657214"/>
                <a:ext cx="53148" cy="24542"/>
              </a:xfrm>
              <a:custGeom>
                <a:avLst/>
                <a:gdLst/>
                <a:ahLst/>
                <a:cxnLst/>
                <a:rect l="l" t="t" r="r" b="b"/>
                <a:pathLst>
                  <a:path w="1648" h="761" extrusionOk="0">
                    <a:moveTo>
                      <a:pt x="64" y="0"/>
                    </a:moveTo>
                    <a:lnTo>
                      <a:pt x="0" y="602"/>
                    </a:lnTo>
                    <a:cubicBezTo>
                      <a:pt x="539" y="665"/>
                      <a:pt x="1077" y="697"/>
                      <a:pt x="1584" y="760"/>
                    </a:cubicBezTo>
                    <a:lnTo>
                      <a:pt x="1647" y="158"/>
                    </a:lnTo>
                    <a:cubicBezTo>
                      <a:pt x="1140" y="127"/>
                      <a:pt x="602" y="63"/>
                      <a:pt x="64"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89" name="Google Shape;889;p27"/>
              <p:cNvSpPr/>
              <p:nvPr/>
            </p:nvSpPr>
            <p:spPr>
              <a:xfrm>
                <a:off x="7795435" y="1896308"/>
                <a:ext cx="53148" cy="24542"/>
              </a:xfrm>
              <a:custGeom>
                <a:avLst/>
                <a:gdLst/>
                <a:ahLst/>
                <a:cxnLst/>
                <a:rect l="l" t="t" r="r" b="b"/>
                <a:pathLst>
                  <a:path w="1648" h="761" extrusionOk="0">
                    <a:moveTo>
                      <a:pt x="32" y="1"/>
                    </a:moveTo>
                    <a:lnTo>
                      <a:pt x="1" y="603"/>
                    </a:lnTo>
                    <a:cubicBezTo>
                      <a:pt x="507" y="634"/>
                      <a:pt x="1046" y="698"/>
                      <a:pt x="1584" y="761"/>
                    </a:cubicBezTo>
                    <a:lnTo>
                      <a:pt x="1647" y="159"/>
                    </a:lnTo>
                    <a:cubicBezTo>
                      <a:pt x="1109" y="96"/>
                      <a:pt x="571" y="33"/>
                      <a:pt x="32"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0" name="Google Shape;890;p27"/>
              <p:cNvSpPr/>
              <p:nvPr/>
            </p:nvSpPr>
            <p:spPr>
              <a:xfrm>
                <a:off x="7784212" y="3727560"/>
                <a:ext cx="54148" cy="30670"/>
              </a:xfrm>
              <a:custGeom>
                <a:avLst/>
                <a:gdLst/>
                <a:ahLst/>
                <a:cxnLst/>
                <a:rect l="l" t="t" r="r" b="b"/>
                <a:pathLst>
                  <a:path w="1679" h="951" extrusionOk="0">
                    <a:moveTo>
                      <a:pt x="1552" y="0"/>
                    </a:moveTo>
                    <a:cubicBezTo>
                      <a:pt x="1045" y="127"/>
                      <a:pt x="507" y="254"/>
                      <a:pt x="0" y="380"/>
                    </a:cubicBezTo>
                    <a:lnTo>
                      <a:pt x="127" y="950"/>
                    </a:lnTo>
                    <a:cubicBezTo>
                      <a:pt x="665" y="824"/>
                      <a:pt x="1172" y="697"/>
                      <a:pt x="1679" y="570"/>
                    </a:cubicBezTo>
                    <a:lnTo>
                      <a:pt x="155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1" name="Google Shape;891;p27"/>
              <p:cNvSpPr/>
              <p:nvPr/>
            </p:nvSpPr>
            <p:spPr>
              <a:xfrm>
                <a:off x="7979292" y="2907442"/>
                <a:ext cx="55180" cy="34733"/>
              </a:xfrm>
              <a:custGeom>
                <a:avLst/>
                <a:gdLst/>
                <a:ahLst/>
                <a:cxnLst/>
                <a:rect l="l" t="t" r="r" b="b"/>
                <a:pathLst>
                  <a:path w="1711" h="1077" extrusionOk="0">
                    <a:moveTo>
                      <a:pt x="1520" y="0"/>
                    </a:moveTo>
                    <a:cubicBezTo>
                      <a:pt x="1045" y="190"/>
                      <a:pt x="507" y="348"/>
                      <a:pt x="0" y="538"/>
                    </a:cubicBezTo>
                    <a:lnTo>
                      <a:pt x="190" y="1077"/>
                    </a:lnTo>
                    <a:cubicBezTo>
                      <a:pt x="728" y="918"/>
                      <a:pt x="1235" y="760"/>
                      <a:pt x="1710" y="570"/>
                    </a:cubicBezTo>
                    <a:lnTo>
                      <a:pt x="152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2" name="Google Shape;892;p27"/>
              <p:cNvSpPr/>
              <p:nvPr/>
            </p:nvSpPr>
            <p:spPr>
              <a:xfrm>
                <a:off x="8495034" y="3002418"/>
                <a:ext cx="34765" cy="55180"/>
              </a:xfrm>
              <a:custGeom>
                <a:avLst/>
                <a:gdLst/>
                <a:ahLst/>
                <a:cxnLst/>
                <a:rect l="l" t="t" r="r" b="b"/>
                <a:pathLst>
                  <a:path w="1078" h="1711" extrusionOk="0">
                    <a:moveTo>
                      <a:pt x="571" y="0"/>
                    </a:moveTo>
                    <a:lnTo>
                      <a:pt x="1" y="222"/>
                    </a:lnTo>
                    <a:cubicBezTo>
                      <a:pt x="191" y="697"/>
                      <a:pt x="381" y="1204"/>
                      <a:pt x="508" y="1710"/>
                    </a:cubicBezTo>
                    <a:lnTo>
                      <a:pt x="1078" y="1552"/>
                    </a:lnTo>
                    <a:cubicBezTo>
                      <a:pt x="951" y="1014"/>
                      <a:pt x="761" y="475"/>
                      <a:pt x="571"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3" name="Google Shape;893;p27"/>
              <p:cNvSpPr/>
              <p:nvPr/>
            </p:nvSpPr>
            <p:spPr>
              <a:xfrm>
                <a:off x="8342879" y="2707234"/>
                <a:ext cx="52116" cy="49085"/>
              </a:xfrm>
              <a:custGeom>
                <a:avLst/>
                <a:gdLst/>
                <a:ahLst/>
                <a:cxnLst/>
                <a:rect l="l" t="t" r="r" b="b"/>
                <a:pathLst>
                  <a:path w="1616" h="1522" extrusionOk="0">
                    <a:moveTo>
                      <a:pt x="1204" y="1"/>
                    </a:moveTo>
                    <a:cubicBezTo>
                      <a:pt x="824" y="349"/>
                      <a:pt x="412" y="698"/>
                      <a:pt x="0" y="1046"/>
                    </a:cubicBezTo>
                    <a:lnTo>
                      <a:pt x="380" y="1521"/>
                    </a:lnTo>
                    <a:cubicBezTo>
                      <a:pt x="824" y="1173"/>
                      <a:pt x="1235" y="824"/>
                      <a:pt x="1615" y="444"/>
                    </a:cubicBezTo>
                    <a:lnTo>
                      <a:pt x="120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4" name="Google Shape;894;p27"/>
              <p:cNvSpPr/>
              <p:nvPr/>
            </p:nvSpPr>
            <p:spPr>
              <a:xfrm>
                <a:off x="8445014" y="2151663"/>
                <a:ext cx="44957" cy="53116"/>
              </a:xfrm>
              <a:custGeom>
                <a:avLst/>
                <a:gdLst/>
                <a:ahLst/>
                <a:cxnLst/>
                <a:rect l="l" t="t" r="r" b="b"/>
                <a:pathLst>
                  <a:path w="1394" h="1647" extrusionOk="0">
                    <a:moveTo>
                      <a:pt x="475" y="0"/>
                    </a:moveTo>
                    <a:lnTo>
                      <a:pt x="0" y="380"/>
                    </a:lnTo>
                    <a:cubicBezTo>
                      <a:pt x="317" y="792"/>
                      <a:pt x="634" y="1203"/>
                      <a:pt x="887" y="1647"/>
                    </a:cubicBezTo>
                    <a:lnTo>
                      <a:pt x="1394" y="1362"/>
                    </a:lnTo>
                    <a:cubicBezTo>
                      <a:pt x="1140" y="887"/>
                      <a:pt x="824" y="443"/>
                      <a:pt x="47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5" name="Google Shape;895;p27"/>
              <p:cNvSpPr/>
              <p:nvPr/>
            </p:nvSpPr>
            <p:spPr>
              <a:xfrm>
                <a:off x="8475652" y="2543823"/>
                <a:ext cx="38829" cy="55212"/>
              </a:xfrm>
              <a:custGeom>
                <a:avLst/>
                <a:gdLst/>
                <a:ahLst/>
                <a:cxnLst/>
                <a:rect l="l" t="t" r="r" b="b"/>
                <a:pathLst>
                  <a:path w="1204" h="1712" extrusionOk="0">
                    <a:moveTo>
                      <a:pt x="665" y="1"/>
                    </a:moveTo>
                    <a:cubicBezTo>
                      <a:pt x="475" y="476"/>
                      <a:pt x="254" y="951"/>
                      <a:pt x="0" y="1426"/>
                    </a:cubicBezTo>
                    <a:lnTo>
                      <a:pt x="507" y="1711"/>
                    </a:lnTo>
                    <a:cubicBezTo>
                      <a:pt x="760" y="1236"/>
                      <a:pt x="1014" y="729"/>
                      <a:pt x="1204" y="223"/>
                    </a:cubicBezTo>
                    <a:lnTo>
                      <a:pt x="665"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6" name="Google Shape;896;p27"/>
              <p:cNvSpPr/>
              <p:nvPr/>
            </p:nvSpPr>
            <p:spPr>
              <a:xfrm>
                <a:off x="8416409" y="2631672"/>
                <a:ext cx="48020" cy="52116"/>
              </a:xfrm>
              <a:custGeom>
                <a:avLst/>
                <a:gdLst/>
                <a:ahLst/>
                <a:cxnLst/>
                <a:rect l="l" t="t" r="r" b="b"/>
                <a:pathLst>
                  <a:path w="1489" h="1616" extrusionOk="0">
                    <a:moveTo>
                      <a:pt x="982" y="0"/>
                    </a:moveTo>
                    <a:cubicBezTo>
                      <a:pt x="697" y="412"/>
                      <a:pt x="349" y="824"/>
                      <a:pt x="0" y="1236"/>
                    </a:cubicBezTo>
                    <a:lnTo>
                      <a:pt x="475" y="1616"/>
                    </a:lnTo>
                    <a:cubicBezTo>
                      <a:pt x="824" y="1204"/>
                      <a:pt x="1172" y="792"/>
                      <a:pt x="1489" y="349"/>
                    </a:cubicBezTo>
                    <a:lnTo>
                      <a:pt x="98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7" name="Google Shape;897;p27"/>
              <p:cNvSpPr/>
              <p:nvPr/>
            </p:nvSpPr>
            <p:spPr>
              <a:xfrm>
                <a:off x="8096747" y="2708266"/>
                <a:ext cx="48020" cy="25574"/>
              </a:xfrm>
              <a:custGeom>
                <a:avLst/>
                <a:gdLst/>
                <a:ahLst/>
                <a:cxnLst/>
                <a:rect l="l" t="t" r="r" b="b"/>
                <a:pathLst>
                  <a:path w="1489" h="793" extrusionOk="0">
                    <a:moveTo>
                      <a:pt x="158" y="1"/>
                    </a:moveTo>
                    <a:lnTo>
                      <a:pt x="0" y="571"/>
                    </a:lnTo>
                    <a:cubicBezTo>
                      <a:pt x="222" y="634"/>
                      <a:pt x="475" y="697"/>
                      <a:pt x="697" y="792"/>
                    </a:cubicBezTo>
                    <a:cubicBezTo>
                      <a:pt x="982" y="666"/>
                      <a:pt x="1235" y="507"/>
                      <a:pt x="1488" y="381"/>
                    </a:cubicBezTo>
                    <a:cubicBezTo>
                      <a:pt x="1045" y="254"/>
                      <a:pt x="602" y="127"/>
                      <a:pt x="158"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8" name="Google Shape;898;p27"/>
              <p:cNvSpPr/>
              <p:nvPr/>
            </p:nvSpPr>
            <p:spPr>
              <a:xfrm>
                <a:off x="8097746" y="1947392"/>
                <a:ext cx="47021" cy="24542"/>
              </a:xfrm>
              <a:custGeom>
                <a:avLst/>
                <a:gdLst/>
                <a:ahLst/>
                <a:cxnLst/>
                <a:rect l="l" t="t" r="r" b="b"/>
                <a:pathLst>
                  <a:path w="1458" h="761" extrusionOk="0">
                    <a:moveTo>
                      <a:pt x="159" y="0"/>
                    </a:moveTo>
                    <a:lnTo>
                      <a:pt x="1" y="570"/>
                    </a:lnTo>
                    <a:cubicBezTo>
                      <a:pt x="254" y="634"/>
                      <a:pt x="476" y="697"/>
                      <a:pt x="697" y="760"/>
                    </a:cubicBezTo>
                    <a:cubicBezTo>
                      <a:pt x="951" y="634"/>
                      <a:pt x="1236" y="507"/>
                      <a:pt x="1457" y="380"/>
                    </a:cubicBezTo>
                    <a:cubicBezTo>
                      <a:pt x="1046" y="254"/>
                      <a:pt x="602" y="127"/>
                      <a:pt x="159"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899" name="Google Shape;899;p27"/>
              <p:cNvSpPr/>
              <p:nvPr/>
            </p:nvSpPr>
            <p:spPr>
              <a:xfrm>
                <a:off x="8402122" y="2105675"/>
                <a:ext cx="23510" cy="20479"/>
              </a:xfrm>
              <a:custGeom>
                <a:avLst/>
                <a:gdLst/>
                <a:ahLst/>
                <a:cxnLst/>
                <a:rect l="l" t="t" r="r" b="b"/>
                <a:pathLst>
                  <a:path w="729" h="635" extrusionOk="0">
                    <a:moveTo>
                      <a:pt x="475" y="1"/>
                    </a:moveTo>
                    <a:cubicBezTo>
                      <a:pt x="317" y="96"/>
                      <a:pt x="158" y="223"/>
                      <a:pt x="0" y="349"/>
                    </a:cubicBezTo>
                    <a:cubicBezTo>
                      <a:pt x="95" y="444"/>
                      <a:pt x="190" y="539"/>
                      <a:pt x="285" y="634"/>
                    </a:cubicBezTo>
                    <a:lnTo>
                      <a:pt x="728" y="223"/>
                    </a:lnTo>
                    <a:cubicBezTo>
                      <a:pt x="633" y="128"/>
                      <a:pt x="570" y="64"/>
                      <a:pt x="475"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0" name="Google Shape;900;p27"/>
              <p:cNvSpPr/>
              <p:nvPr/>
            </p:nvSpPr>
            <p:spPr>
              <a:xfrm>
                <a:off x="8520576" y="2344680"/>
                <a:ext cx="22510" cy="52116"/>
              </a:xfrm>
              <a:custGeom>
                <a:avLst/>
                <a:gdLst/>
                <a:ahLst/>
                <a:cxnLst/>
                <a:rect l="l" t="t" r="r" b="b"/>
                <a:pathLst>
                  <a:path w="698" h="1616" extrusionOk="0">
                    <a:moveTo>
                      <a:pt x="602" y="0"/>
                    </a:moveTo>
                    <a:lnTo>
                      <a:pt x="1" y="64"/>
                    </a:lnTo>
                    <a:cubicBezTo>
                      <a:pt x="64" y="571"/>
                      <a:pt x="96" y="1109"/>
                      <a:pt x="96" y="1616"/>
                    </a:cubicBezTo>
                    <a:lnTo>
                      <a:pt x="697" y="1616"/>
                    </a:lnTo>
                    <a:cubicBezTo>
                      <a:pt x="697" y="1077"/>
                      <a:pt x="666" y="507"/>
                      <a:pt x="60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1" name="Google Shape;901;p27"/>
              <p:cNvSpPr/>
              <p:nvPr/>
            </p:nvSpPr>
            <p:spPr>
              <a:xfrm>
                <a:off x="8512417" y="2446815"/>
                <a:ext cx="27606" cy="54148"/>
              </a:xfrm>
              <a:custGeom>
                <a:avLst/>
                <a:gdLst/>
                <a:ahLst/>
                <a:cxnLst/>
                <a:rect l="l" t="t" r="r" b="b"/>
                <a:pathLst>
                  <a:path w="856" h="1679" extrusionOk="0">
                    <a:moveTo>
                      <a:pt x="254" y="0"/>
                    </a:moveTo>
                    <a:cubicBezTo>
                      <a:pt x="222" y="539"/>
                      <a:pt x="127" y="1045"/>
                      <a:pt x="0" y="1552"/>
                    </a:cubicBezTo>
                    <a:lnTo>
                      <a:pt x="570" y="1679"/>
                    </a:lnTo>
                    <a:cubicBezTo>
                      <a:pt x="697" y="1172"/>
                      <a:pt x="792" y="634"/>
                      <a:pt x="855" y="95"/>
                    </a:cubicBezTo>
                    <a:lnTo>
                      <a:pt x="25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2" name="Google Shape;902;p27"/>
              <p:cNvSpPr/>
              <p:nvPr/>
            </p:nvSpPr>
            <p:spPr>
              <a:xfrm>
                <a:off x="8443982" y="2911506"/>
                <a:ext cx="45988" cy="53148"/>
              </a:xfrm>
              <a:custGeom>
                <a:avLst/>
                <a:gdLst/>
                <a:ahLst/>
                <a:cxnLst/>
                <a:rect l="l" t="t" r="r" b="b"/>
                <a:pathLst>
                  <a:path w="1426" h="1648" extrusionOk="0">
                    <a:moveTo>
                      <a:pt x="476" y="1"/>
                    </a:moveTo>
                    <a:lnTo>
                      <a:pt x="1" y="381"/>
                    </a:lnTo>
                    <a:cubicBezTo>
                      <a:pt x="349" y="792"/>
                      <a:pt x="634" y="1204"/>
                      <a:pt x="887" y="1647"/>
                    </a:cubicBezTo>
                    <a:lnTo>
                      <a:pt x="1426" y="1362"/>
                    </a:lnTo>
                    <a:cubicBezTo>
                      <a:pt x="1141" y="887"/>
                      <a:pt x="824" y="444"/>
                      <a:pt x="47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3" name="Google Shape;903;p27"/>
              <p:cNvSpPr/>
              <p:nvPr/>
            </p:nvSpPr>
            <p:spPr>
              <a:xfrm>
                <a:off x="8476652" y="3303698"/>
                <a:ext cx="38861" cy="55180"/>
              </a:xfrm>
              <a:custGeom>
                <a:avLst/>
                <a:gdLst/>
                <a:ahLst/>
                <a:cxnLst/>
                <a:rect l="l" t="t" r="r" b="b"/>
                <a:pathLst>
                  <a:path w="1205" h="1711" extrusionOk="0">
                    <a:moveTo>
                      <a:pt x="666" y="1"/>
                    </a:moveTo>
                    <a:cubicBezTo>
                      <a:pt x="476" y="476"/>
                      <a:pt x="254" y="951"/>
                      <a:pt x="1" y="1426"/>
                    </a:cubicBezTo>
                    <a:lnTo>
                      <a:pt x="539" y="1711"/>
                    </a:lnTo>
                    <a:cubicBezTo>
                      <a:pt x="793" y="1204"/>
                      <a:pt x="1014" y="729"/>
                      <a:pt x="1204" y="222"/>
                    </a:cubicBezTo>
                    <a:lnTo>
                      <a:pt x="666"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4" name="Google Shape;904;p27"/>
              <p:cNvSpPr/>
              <p:nvPr/>
            </p:nvSpPr>
            <p:spPr>
              <a:xfrm>
                <a:off x="8402122" y="2866581"/>
                <a:ext cx="22478" cy="19415"/>
              </a:xfrm>
              <a:custGeom>
                <a:avLst/>
                <a:gdLst/>
                <a:ahLst/>
                <a:cxnLst/>
                <a:rect l="l" t="t" r="r" b="b"/>
                <a:pathLst>
                  <a:path w="697" h="602" extrusionOk="0">
                    <a:moveTo>
                      <a:pt x="475" y="0"/>
                    </a:moveTo>
                    <a:cubicBezTo>
                      <a:pt x="317" y="127"/>
                      <a:pt x="158" y="222"/>
                      <a:pt x="0" y="349"/>
                    </a:cubicBezTo>
                    <a:lnTo>
                      <a:pt x="285" y="602"/>
                    </a:lnTo>
                    <a:lnTo>
                      <a:pt x="697" y="190"/>
                    </a:lnTo>
                    <a:cubicBezTo>
                      <a:pt x="633" y="127"/>
                      <a:pt x="538" y="64"/>
                      <a:pt x="47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5" name="Google Shape;905;p27"/>
              <p:cNvSpPr/>
              <p:nvPr/>
            </p:nvSpPr>
            <p:spPr>
              <a:xfrm>
                <a:off x="8344910" y="3468141"/>
                <a:ext cx="52116" cy="48020"/>
              </a:xfrm>
              <a:custGeom>
                <a:avLst/>
                <a:gdLst/>
                <a:ahLst/>
                <a:cxnLst/>
                <a:rect l="l" t="t" r="r" b="b"/>
                <a:pathLst>
                  <a:path w="1616" h="1489" extrusionOk="0">
                    <a:moveTo>
                      <a:pt x="1204" y="0"/>
                    </a:moveTo>
                    <a:cubicBezTo>
                      <a:pt x="824" y="349"/>
                      <a:pt x="444" y="697"/>
                      <a:pt x="1" y="1014"/>
                    </a:cubicBezTo>
                    <a:lnTo>
                      <a:pt x="381" y="1489"/>
                    </a:lnTo>
                    <a:cubicBezTo>
                      <a:pt x="824" y="1140"/>
                      <a:pt x="1236" y="792"/>
                      <a:pt x="1616" y="412"/>
                    </a:cubicBezTo>
                    <a:lnTo>
                      <a:pt x="120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6" name="Google Shape;906;p27"/>
              <p:cNvSpPr/>
              <p:nvPr/>
            </p:nvSpPr>
            <p:spPr>
              <a:xfrm>
                <a:off x="8418440" y="3391547"/>
                <a:ext cx="47021" cy="52116"/>
              </a:xfrm>
              <a:custGeom>
                <a:avLst/>
                <a:gdLst/>
                <a:ahLst/>
                <a:cxnLst/>
                <a:rect l="l" t="t" r="r" b="b"/>
                <a:pathLst>
                  <a:path w="1458" h="1616" extrusionOk="0">
                    <a:moveTo>
                      <a:pt x="983" y="0"/>
                    </a:moveTo>
                    <a:cubicBezTo>
                      <a:pt x="698" y="412"/>
                      <a:pt x="349" y="823"/>
                      <a:pt x="1" y="1235"/>
                    </a:cubicBezTo>
                    <a:lnTo>
                      <a:pt x="444" y="1615"/>
                    </a:lnTo>
                    <a:cubicBezTo>
                      <a:pt x="824" y="1204"/>
                      <a:pt x="1173" y="792"/>
                      <a:pt x="1458" y="348"/>
                    </a:cubicBezTo>
                    <a:lnTo>
                      <a:pt x="98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7" name="Google Shape;907;p27"/>
              <p:cNvSpPr/>
              <p:nvPr/>
            </p:nvSpPr>
            <p:spPr>
              <a:xfrm>
                <a:off x="8262189" y="3531447"/>
                <a:ext cx="54148" cy="44989"/>
              </a:xfrm>
              <a:custGeom>
                <a:avLst/>
                <a:gdLst/>
                <a:ahLst/>
                <a:cxnLst/>
                <a:rect l="l" t="t" r="r" b="b"/>
                <a:pathLst>
                  <a:path w="1679" h="1395" extrusionOk="0">
                    <a:moveTo>
                      <a:pt x="1331" y="1"/>
                    </a:moveTo>
                    <a:cubicBezTo>
                      <a:pt x="919" y="317"/>
                      <a:pt x="475" y="602"/>
                      <a:pt x="0" y="887"/>
                    </a:cubicBezTo>
                    <a:lnTo>
                      <a:pt x="317" y="1394"/>
                    </a:lnTo>
                    <a:cubicBezTo>
                      <a:pt x="792" y="1109"/>
                      <a:pt x="1236" y="792"/>
                      <a:pt x="1679" y="507"/>
                    </a:cubicBezTo>
                    <a:lnTo>
                      <a:pt x="1331"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8" name="Google Shape;908;p27"/>
              <p:cNvSpPr/>
              <p:nvPr/>
            </p:nvSpPr>
            <p:spPr>
              <a:xfrm>
                <a:off x="8513449" y="3206690"/>
                <a:ext cx="27606" cy="54148"/>
              </a:xfrm>
              <a:custGeom>
                <a:avLst/>
                <a:gdLst/>
                <a:ahLst/>
                <a:cxnLst/>
                <a:rect l="l" t="t" r="r" b="b"/>
                <a:pathLst>
                  <a:path w="856" h="1679" extrusionOk="0">
                    <a:moveTo>
                      <a:pt x="253" y="0"/>
                    </a:moveTo>
                    <a:cubicBezTo>
                      <a:pt x="190" y="507"/>
                      <a:pt x="127" y="1045"/>
                      <a:pt x="0" y="1520"/>
                    </a:cubicBezTo>
                    <a:lnTo>
                      <a:pt x="570" y="1678"/>
                    </a:lnTo>
                    <a:cubicBezTo>
                      <a:pt x="697" y="1140"/>
                      <a:pt x="792" y="602"/>
                      <a:pt x="855" y="63"/>
                    </a:cubicBezTo>
                    <a:lnTo>
                      <a:pt x="25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09" name="Google Shape;909;p27"/>
              <p:cNvSpPr/>
              <p:nvPr/>
            </p:nvSpPr>
            <p:spPr>
              <a:xfrm>
                <a:off x="8495034" y="2242544"/>
                <a:ext cx="34765" cy="55180"/>
              </a:xfrm>
              <a:custGeom>
                <a:avLst/>
                <a:gdLst/>
                <a:ahLst/>
                <a:cxnLst/>
                <a:rect l="l" t="t" r="r" b="b"/>
                <a:pathLst>
                  <a:path w="1078" h="1711" extrusionOk="0">
                    <a:moveTo>
                      <a:pt x="571" y="1"/>
                    </a:moveTo>
                    <a:lnTo>
                      <a:pt x="1" y="222"/>
                    </a:lnTo>
                    <a:cubicBezTo>
                      <a:pt x="223" y="697"/>
                      <a:pt x="381" y="1204"/>
                      <a:pt x="508" y="1711"/>
                    </a:cubicBezTo>
                    <a:lnTo>
                      <a:pt x="1078" y="1552"/>
                    </a:lnTo>
                    <a:cubicBezTo>
                      <a:pt x="951" y="1014"/>
                      <a:pt x="761" y="507"/>
                      <a:pt x="571"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0" name="Google Shape;910;p27"/>
              <p:cNvSpPr/>
              <p:nvPr/>
            </p:nvSpPr>
            <p:spPr>
              <a:xfrm>
                <a:off x="8520576" y="3103522"/>
                <a:ext cx="22510" cy="53148"/>
              </a:xfrm>
              <a:custGeom>
                <a:avLst/>
                <a:gdLst/>
                <a:ahLst/>
                <a:cxnLst/>
                <a:rect l="l" t="t" r="r" b="b"/>
                <a:pathLst>
                  <a:path w="698" h="1648" extrusionOk="0">
                    <a:moveTo>
                      <a:pt x="602" y="0"/>
                    </a:moveTo>
                    <a:lnTo>
                      <a:pt x="1" y="95"/>
                    </a:lnTo>
                    <a:cubicBezTo>
                      <a:pt x="64" y="602"/>
                      <a:pt x="96" y="1109"/>
                      <a:pt x="96" y="1647"/>
                    </a:cubicBezTo>
                    <a:lnTo>
                      <a:pt x="697" y="1647"/>
                    </a:lnTo>
                    <a:cubicBezTo>
                      <a:pt x="697" y="1077"/>
                      <a:pt x="666" y="539"/>
                      <a:pt x="60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1" name="Google Shape;911;p27"/>
              <p:cNvSpPr/>
              <p:nvPr/>
            </p:nvSpPr>
            <p:spPr>
              <a:xfrm>
                <a:off x="7588100" y="2646991"/>
                <a:ext cx="52116" cy="20447"/>
              </a:xfrm>
              <a:custGeom>
                <a:avLst/>
                <a:gdLst/>
                <a:ahLst/>
                <a:cxnLst/>
                <a:rect l="l" t="t" r="r" b="b"/>
                <a:pathLst>
                  <a:path w="1616" h="634" extrusionOk="0">
                    <a:moveTo>
                      <a:pt x="1" y="0"/>
                    </a:moveTo>
                    <a:lnTo>
                      <a:pt x="1" y="602"/>
                    </a:lnTo>
                    <a:cubicBezTo>
                      <a:pt x="539" y="602"/>
                      <a:pt x="1078" y="602"/>
                      <a:pt x="1584" y="634"/>
                    </a:cubicBezTo>
                    <a:lnTo>
                      <a:pt x="1616" y="32"/>
                    </a:lnTo>
                    <a:cubicBezTo>
                      <a:pt x="1078" y="32"/>
                      <a:pt x="539" y="0"/>
                      <a:pt x="1"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2" name="Google Shape;912;p27"/>
              <p:cNvSpPr/>
              <p:nvPr/>
            </p:nvSpPr>
            <p:spPr>
              <a:xfrm>
                <a:off x="6758791" y="3787803"/>
                <a:ext cx="54148" cy="26574"/>
              </a:xfrm>
              <a:custGeom>
                <a:avLst/>
                <a:gdLst/>
                <a:ahLst/>
                <a:cxnLst/>
                <a:rect l="l" t="t" r="r" b="b"/>
                <a:pathLst>
                  <a:path w="1679" h="824" extrusionOk="0">
                    <a:moveTo>
                      <a:pt x="96" y="1"/>
                    </a:moveTo>
                    <a:lnTo>
                      <a:pt x="1" y="602"/>
                    </a:lnTo>
                    <a:cubicBezTo>
                      <a:pt x="507" y="697"/>
                      <a:pt x="1046" y="761"/>
                      <a:pt x="1584" y="824"/>
                    </a:cubicBezTo>
                    <a:lnTo>
                      <a:pt x="1679" y="222"/>
                    </a:lnTo>
                    <a:cubicBezTo>
                      <a:pt x="1141" y="159"/>
                      <a:pt x="602" y="96"/>
                      <a:pt x="9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3" name="Google Shape;913;p27"/>
              <p:cNvSpPr/>
              <p:nvPr/>
            </p:nvSpPr>
            <p:spPr>
              <a:xfrm>
                <a:off x="6664814" y="3500810"/>
                <a:ext cx="55212" cy="33733"/>
              </a:xfrm>
              <a:custGeom>
                <a:avLst/>
                <a:gdLst/>
                <a:ahLst/>
                <a:cxnLst/>
                <a:rect l="l" t="t" r="r" b="b"/>
                <a:pathLst>
                  <a:path w="1712" h="1046" extrusionOk="0">
                    <a:moveTo>
                      <a:pt x="1553" y="1"/>
                    </a:moveTo>
                    <a:cubicBezTo>
                      <a:pt x="1014" y="159"/>
                      <a:pt x="508" y="317"/>
                      <a:pt x="1" y="476"/>
                    </a:cubicBezTo>
                    <a:lnTo>
                      <a:pt x="223" y="1046"/>
                    </a:lnTo>
                    <a:cubicBezTo>
                      <a:pt x="698" y="887"/>
                      <a:pt x="1204" y="729"/>
                      <a:pt x="1711" y="571"/>
                    </a:cubicBezTo>
                    <a:lnTo>
                      <a:pt x="1553"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4" name="Google Shape;914;p27"/>
              <p:cNvSpPr/>
              <p:nvPr/>
            </p:nvSpPr>
            <p:spPr>
              <a:xfrm>
                <a:off x="6666878" y="2737872"/>
                <a:ext cx="55180" cy="34765"/>
              </a:xfrm>
              <a:custGeom>
                <a:avLst/>
                <a:gdLst/>
                <a:ahLst/>
                <a:cxnLst/>
                <a:rect l="l" t="t" r="r" b="b"/>
                <a:pathLst>
                  <a:path w="1711" h="1078" extrusionOk="0">
                    <a:moveTo>
                      <a:pt x="1520" y="1"/>
                    </a:moveTo>
                    <a:cubicBezTo>
                      <a:pt x="982" y="159"/>
                      <a:pt x="475" y="349"/>
                      <a:pt x="0" y="508"/>
                    </a:cubicBezTo>
                    <a:lnTo>
                      <a:pt x="190" y="1078"/>
                    </a:lnTo>
                    <a:cubicBezTo>
                      <a:pt x="665" y="919"/>
                      <a:pt x="1172" y="729"/>
                      <a:pt x="1710" y="571"/>
                    </a:cubicBezTo>
                    <a:lnTo>
                      <a:pt x="1520"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5" name="Google Shape;915;p27"/>
              <p:cNvSpPr/>
              <p:nvPr/>
            </p:nvSpPr>
            <p:spPr>
              <a:xfrm>
                <a:off x="6765950" y="2712362"/>
                <a:ext cx="55180" cy="30670"/>
              </a:xfrm>
              <a:custGeom>
                <a:avLst/>
                <a:gdLst/>
                <a:ahLst/>
                <a:cxnLst/>
                <a:rect l="l" t="t" r="r" b="b"/>
                <a:pathLst>
                  <a:path w="1711" h="951" extrusionOk="0">
                    <a:moveTo>
                      <a:pt x="1584" y="0"/>
                    </a:moveTo>
                    <a:cubicBezTo>
                      <a:pt x="1045" y="127"/>
                      <a:pt x="507" y="254"/>
                      <a:pt x="0" y="380"/>
                    </a:cubicBezTo>
                    <a:lnTo>
                      <a:pt x="159" y="950"/>
                    </a:lnTo>
                    <a:cubicBezTo>
                      <a:pt x="665" y="824"/>
                      <a:pt x="1172" y="697"/>
                      <a:pt x="1710" y="570"/>
                    </a:cubicBez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6" name="Google Shape;916;p27"/>
              <p:cNvSpPr/>
              <p:nvPr/>
            </p:nvSpPr>
            <p:spPr>
              <a:xfrm>
                <a:off x="6755727" y="3025896"/>
                <a:ext cx="54148" cy="26606"/>
              </a:xfrm>
              <a:custGeom>
                <a:avLst/>
                <a:gdLst/>
                <a:ahLst/>
                <a:cxnLst/>
                <a:rect l="l" t="t" r="r" b="b"/>
                <a:pathLst>
                  <a:path w="1679" h="825" extrusionOk="0">
                    <a:moveTo>
                      <a:pt x="96" y="1"/>
                    </a:moveTo>
                    <a:lnTo>
                      <a:pt x="1" y="602"/>
                    </a:lnTo>
                    <a:cubicBezTo>
                      <a:pt x="507" y="697"/>
                      <a:pt x="1046" y="761"/>
                      <a:pt x="1616" y="824"/>
                    </a:cubicBezTo>
                    <a:lnTo>
                      <a:pt x="1679" y="222"/>
                    </a:lnTo>
                    <a:cubicBezTo>
                      <a:pt x="1141" y="159"/>
                      <a:pt x="602" y="96"/>
                      <a:pt x="9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7" name="Google Shape;917;p27"/>
              <p:cNvSpPr/>
              <p:nvPr/>
            </p:nvSpPr>
            <p:spPr>
              <a:xfrm>
                <a:off x="6764918" y="3474268"/>
                <a:ext cx="54180" cy="30670"/>
              </a:xfrm>
              <a:custGeom>
                <a:avLst/>
                <a:gdLst/>
                <a:ahLst/>
                <a:cxnLst/>
                <a:rect l="l" t="t" r="r" b="b"/>
                <a:pathLst>
                  <a:path w="1680" h="951" extrusionOk="0">
                    <a:moveTo>
                      <a:pt x="1552" y="0"/>
                    </a:moveTo>
                    <a:cubicBezTo>
                      <a:pt x="1014" y="127"/>
                      <a:pt x="507" y="254"/>
                      <a:pt x="1" y="380"/>
                    </a:cubicBezTo>
                    <a:lnTo>
                      <a:pt x="127" y="950"/>
                    </a:lnTo>
                    <a:cubicBezTo>
                      <a:pt x="634" y="824"/>
                      <a:pt x="1141" y="697"/>
                      <a:pt x="1679" y="570"/>
                    </a:cubicBezTo>
                    <a:lnTo>
                      <a:pt x="1552"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8" name="Google Shape;918;p27"/>
              <p:cNvSpPr/>
              <p:nvPr/>
            </p:nvSpPr>
            <p:spPr>
              <a:xfrm>
                <a:off x="6867054" y="2691915"/>
                <a:ext cx="54148" cy="28638"/>
              </a:xfrm>
              <a:custGeom>
                <a:avLst/>
                <a:gdLst/>
                <a:ahLst/>
                <a:cxnLst/>
                <a:rect l="l" t="t" r="r" b="b"/>
                <a:pathLst>
                  <a:path w="1679" h="888" extrusionOk="0">
                    <a:moveTo>
                      <a:pt x="1584" y="1"/>
                    </a:moveTo>
                    <a:cubicBezTo>
                      <a:pt x="1046" y="96"/>
                      <a:pt x="507" y="191"/>
                      <a:pt x="0" y="286"/>
                    </a:cubicBezTo>
                    <a:lnTo>
                      <a:pt x="127" y="888"/>
                    </a:lnTo>
                    <a:cubicBezTo>
                      <a:pt x="634" y="761"/>
                      <a:pt x="1141" y="666"/>
                      <a:pt x="1679"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19" name="Google Shape;919;p27"/>
              <p:cNvSpPr/>
              <p:nvPr/>
            </p:nvSpPr>
            <p:spPr>
              <a:xfrm>
                <a:off x="6962030" y="3046343"/>
                <a:ext cx="53148" cy="21478"/>
              </a:xfrm>
              <a:custGeom>
                <a:avLst/>
                <a:gdLst/>
                <a:ahLst/>
                <a:cxnLst/>
                <a:rect l="l" t="t" r="r" b="b"/>
                <a:pathLst>
                  <a:path w="1648" h="666" extrusionOk="0">
                    <a:moveTo>
                      <a:pt x="32" y="0"/>
                    </a:moveTo>
                    <a:lnTo>
                      <a:pt x="1" y="602"/>
                    </a:lnTo>
                    <a:cubicBezTo>
                      <a:pt x="539" y="602"/>
                      <a:pt x="1077" y="633"/>
                      <a:pt x="1616" y="665"/>
                    </a:cubicBezTo>
                    <a:lnTo>
                      <a:pt x="1647" y="63"/>
                    </a:lnTo>
                    <a:cubicBezTo>
                      <a:pt x="1109" y="32"/>
                      <a:pt x="571" y="0"/>
                      <a:pt x="3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0" name="Google Shape;920;p27"/>
              <p:cNvSpPr/>
              <p:nvPr/>
            </p:nvSpPr>
            <p:spPr>
              <a:xfrm>
                <a:off x="6861959" y="3801090"/>
                <a:ext cx="53116" cy="22511"/>
              </a:xfrm>
              <a:custGeom>
                <a:avLst/>
                <a:gdLst/>
                <a:ahLst/>
                <a:cxnLst/>
                <a:rect l="l" t="t" r="r" b="b"/>
                <a:pathLst>
                  <a:path w="1647" h="698" extrusionOk="0">
                    <a:moveTo>
                      <a:pt x="32" y="0"/>
                    </a:moveTo>
                    <a:lnTo>
                      <a:pt x="0" y="570"/>
                    </a:lnTo>
                    <a:cubicBezTo>
                      <a:pt x="507" y="634"/>
                      <a:pt x="1045" y="665"/>
                      <a:pt x="1584" y="697"/>
                    </a:cubicBezTo>
                    <a:lnTo>
                      <a:pt x="1647" y="127"/>
                    </a:lnTo>
                    <a:cubicBezTo>
                      <a:pt x="1109" y="64"/>
                      <a:pt x="570" y="32"/>
                      <a:pt x="3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1" name="Google Shape;921;p27"/>
              <p:cNvSpPr/>
              <p:nvPr/>
            </p:nvSpPr>
            <p:spPr>
              <a:xfrm>
                <a:off x="6858895" y="3038151"/>
                <a:ext cx="53116" cy="23542"/>
              </a:xfrm>
              <a:custGeom>
                <a:avLst/>
                <a:gdLst/>
                <a:ahLst/>
                <a:cxnLst/>
                <a:rect l="l" t="t" r="r" b="b"/>
                <a:pathLst>
                  <a:path w="1647" h="730" extrusionOk="0">
                    <a:moveTo>
                      <a:pt x="63" y="1"/>
                    </a:moveTo>
                    <a:lnTo>
                      <a:pt x="0" y="602"/>
                    </a:lnTo>
                    <a:cubicBezTo>
                      <a:pt x="507" y="666"/>
                      <a:pt x="1045" y="697"/>
                      <a:pt x="1584" y="729"/>
                    </a:cubicBezTo>
                    <a:lnTo>
                      <a:pt x="1647" y="159"/>
                    </a:lnTo>
                    <a:cubicBezTo>
                      <a:pt x="1109" y="96"/>
                      <a:pt x="570" y="64"/>
                      <a:pt x="63"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2" name="Google Shape;922;p27"/>
              <p:cNvSpPr/>
              <p:nvPr/>
            </p:nvSpPr>
            <p:spPr>
              <a:xfrm>
                <a:off x="6866022" y="3453822"/>
                <a:ext cx="54180" cy="28638"/>
              </a:xfrm>
              <a:custGeom>
                <a:avLst/>
                <a:gdLst/>
                <a:ahLst/>
                <a:cxnLst/>
                <a:rect l="l" t="t" r="r" b="b"/>
                <a:pathLst>
                  <a:path w="1680" h="888" extrusionOk="0">
                    <a:moveTo>
                      <a:pt x="1584" y="1"/>
                    </a:moveTo>
                    <a:cubicBezTo>
                      <a:pt x="1046" y="96"/>
                      <a:pt x="508" y="191"/>
                      <a:pt x="1" y="286"/>
                    </a:cubicBezTo>
                    <a:lnTo>
                      <a:pt x="96" y="888"/>
                    </a:lnTo>
                    <a:cubicBezTo>
                      <a:pt x="634" y="793"/>
                      <a:pt x="1141" y="698"/>
                      <a:pt x="1679"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3" name="Google Shape;923;p27"/>
              <p:cNvSpPr/>
              <p:nvPr/>
            </p:nvSpPr>
            <p:spPr>
              <a:xfrm>
                <a:off x="6487117" y="3587627"/>
                <a:ext cx="49052" cy="50084"/>
              </a:xfrm>
              <a:custGeom>
                <a:avLst/>
                <a:gdLst/>
                <a:ahLst/>
                <a:cxnLst/>
                <a:rect l="l" t="t" r="r" b="b"/>
                <a:pathLst>
                  <a:path w="1521" h="1553" extrusionOk="0">
                    <a:moveTo>
                      <a:pt x="1172" y="1"/>
                    </a:moveTo>
                    <a:cubicBezTo>
                      <a:pt x="666" y="412"/>
                      <a:pt x="286" y="824"/>
                      <a:pt x="1" y="1236"/>
                    </a:cubicBezTo>
                    <a:lnTo>
                      <a:pt x="539" y="1552"/>
                    </a:lnTo>
                    <a:cubicBezTo>
                      <a:pt x="761" y="1204"/>
                      <a:pt x="1077" y="824"/>
                      <a:pt x="1521" y="476"/>
                    </a:cubicBezTo>
                    <a:lnTo>
                      <a:pt x="1172"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4" name="Google Shape;924;p27"/>
              <p:cNvSpPr/>
              <p:nvPr/>
            </p:nvSpPr>
            <p:spPr>
              <a:xfrm>
                <a:off x="6554519" y="2975844"/>
                <a:ext cx="55180" cy="35797"/>
              </a:xfrm>
              <a:custGeom>
                <a:avLst/>
                <a:gdLst/>
                <a:ahLst/>
                <a:cxnLst/>
                <a:rect l="l" t="t" r="r" b="b"/>
                <a:pathLst>
                  <a:path w="1711" h="1110" extrusionOk="0">
                    <a:moveTo>
                      <a:pt x="222" y="1"/>
                    </a:moveTo>
                    <a:lnTo>
                      <a:pt x="1" y="539"/>
                    </a:lnTo>
                    <a:cubicBezTo>
                      <a:pt x="444" y="729"/>
                      <a:pt x="951" y="951"/>
                      <a:pt x="1521" y="1109"/>
                    </a:cubicBezTo>
                    <a:lnTo>
                      <a:pt x="1711" y="539"/>
                    </a:lnTo>
                    <a:cubicBezTo>
                      <a:pt x="1172" y="381"/>
                      <a:pt x="666" y="191"/>
                      <a:pt x="222"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5" name="Google Shape;925;p27"/>
              <p:cNvSpPr/>
              <p:nvPr/>
            </p:nvSpPr>
            <p:spPr>
              <a:xfrm>
                <a:off x="6488149" y="2824689"/>
                <a:ext cx="50084" cy="50084"/>
              </a:xfrm>
              <a:custGeom>
                <a:avLst/>
                <a:gdLst/>
                <a:ahLst/>
                <a:cxnLst/>
                <a:rect l="l" t="t" r="r" b="b"/>
                <a:pathLst>
                  <a:path w="1553" h="1553" extrusionOk="0">
                    <a:moveTo>
                      <a:pt x="1172" y="1"/>
                    </a:moveTo>
                    <a:cubicBezTo>
                      <a:pt x="665" y="381"/>
                      <a:pt x="285" y="793"/>
                      <a:pt x="0" y="1204"/>
                    </a:cubicBezTo>
                    <a:lnTo>
                      <a:pt x="507" y="1553"/>
                    </a:lnTo>
                    <a:cubicBezTo>
                      <a:pt x="729" y="1173"/>
                      <a:pt x="1077" y="824"/>
                      <a:pt x="1552" y="476"/>
                    </a:cubicBezTo>
                    <a:lnTo>
                      <a:pt x="1172"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6" name="Google Shape;926;p27"/>
              <p:cNvSpPr/>
              <p:nvPr/>
            </p:nvSpPr>
            <p:spPr>
              <a:xfrm>
                <a:off x="6474862" y="2915601"/>
                <a:ext cx="44957" cy="51084"/>
              </a:xfrm>
              <a:custGeom>
                <a:avLst/>
                <a:gdLst/>
                <a:ahLst/>
                <a:cxnLst/>
                <a:rect l="l" t="t" r="r" b="b"/>
                <a:pathLst>
                  <a:path w="1394" h="1584" extrusionOk="0">
                    <a:moveTo>
                      <a:pt x="602" y="0"/>
                    </a:moveTo>
                    <a:lnTo>
                      <a:pt x="1" y="127"/>
                    </a:lnTo>
                    <a:cubicBezTo>
                      <a:pt x="96" y="634"/>
                      <a:pt x="444" y="1109"/>
                      <a:pt x="1014" y="1584"/>
                    </a:cubicBezTo>
                    <a:lnTo>
                      <a:pt x="1394" y="1109"/>
                    </a:lnTo>
                    <a:cubicBezTo>
                      <a:pt x="919" y="760"/>
                      <a:pt x="666" y="380"/>
                      <a:pt x="60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7" name="Google Shape;927;p27"/>
              <p:cNvSpPr/>
              <p:nvPr/>
            </p:nvSpPr>
            <p:spPr>
              <a:xfrm>
                <a:off x="6475894" y="3679539"/>
                <a:ext cx="45989" cy="50084"/>
              </a:xfrm>
              <a:custGeom>
                <a:avLst/>
                <a:gdLst/>
                <a:ahLst/>
                <a:cxnLst/>
                <a:rect l="l" t="t" r="r" b="b"/>
                <a:pathLst>
                  <a:path w="1426" h="1553" extrusionOk="0">
                    <a:moveTo>
                      <a:pt x="602" y="1"/>
                    </a:moveTo>
                    <a:lnTo>
                      <a:pt x="0" y="127"/>
                    </a:lnTo>
                    <a:cubicBezTo>
                      <a:pt x="127" y="634"/>
                      <a:pt x="475" y="1109"/>
                      <a:pt x="1077" y="1552"/>
                    </a:cubicBezTo>
                    <a:lnTo>
                      <a:pt x="1425" y="1077"/>
                    </a:lnTo>
                    <a:cubicBezTo>
                      <a:pt x="950" y="729"/>
                      <a:pt x="697" y="349"/>
                      <a:pt x="602"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8" name="Google Shape;928;p27"/>
              <p:cNvSpPr/>
              <p:nvPr/>
            </p:nvSpPr>
            <p:spPr>
              <a:xfrm>
                <a:off x="6965094" y="3807217"/>
                <a:ext cx="52116" cy="21479"/>
              </a:xfrm>
              <a:custGeom>
                <a:avLst/>
                <a:gdLst/>
                <a:ahLst/>
                <a:cxnLst/>
                <a:rect l="l" t="t" r="r" b="b"/>
                <a:pathLst>
                  <a:path w="1616" h="666" extrusionOk="0">
                    <a:moveTo>
                      <a:pt x="32" y="0"/>
                    </a:moveTo>
                    <a:lnTo>
                      <a:pt x="1" y="602"/>
                    </a:lnTo>
                    <a:cubicBezTo>
                      <a:pt x="539" y="634"/>
                      <a:pt x="1077" y="665"/>
                      <a:pt x="1616" y="665"/>
                    </a:cubicBezTo>
                    <a:lnTo>
                      <a:pt x="1616" y="64"/>
                    </a:lnTo>
                    <a:cubicBezTo>
                      <a:pt x="1077" y="64"/>
                      <a:pt x="539" y="32"/>
                      <a:pt x="32"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29" name="Google Shape;929;p27"/>
              <p:cNvSpPr/>
              <p:nvPr/>
            </p:nvSpPr>
            <p:spPr>
              <a:xfrm>
                <a:off x="6653591" y="3006482"/>
                <a:ext cx="55180" cy="29670"/>
              </a:xfrm>
              <a:custGeom>
                <a:avLst/>
                <a:gdLst/>
                <a:ahLst/>
                <a:cxnLst/>
                <a:rect l="l" t="t" r="r" b="b"/>
                <a:pathLst>
                  <a:path w="1711" h="920" extrusionOk="0">
                    <a:moveTo>
                      <a:pt x="159" y="1"/>
                    </a:moveTo>
                    <a:lnTo>
                      <a:pt x="1" y="603"/>
                    </a:lnTo>
                    <a:cubicBezTo>
                      <a:pt x="507" y="698"/>
                      <a:pt x="1046" y="824"/>
                      <a:pt x="1584" y="919"/>
                    </a:cubicBezTo>
                    <a:lnTo>
                      <a:pt x="1711" y="349"/>
                    </a:lnTo>
                    <a:cubicBezTo>
                      <a:pt x="1172" y="254"/>
                      <a:pt x="634" y="128"/>
                      <a:pt x="159"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0" name="Google Shape;930;p27"/>
              <p:cNvSpPr/>
              <p:nvPr/>
            </p:nvSpPr>
            <p:spPr>
              <a:xfrm>
                <a:off x="6656655" y="3769420"/>
                <a:ext cx="54180" cy="29638"/>
              </a:xfrm>
              <a:custGeom>
                <a:avLst/>
                <a:gdLst/>
                <a:ahLst/>
                <a:cxnLst/>
                <a:rect l="l" t="t" r="r" b="b"/>
                <a:pathLst>
                  <a:path w="1680" h="919" extrusionOk="0">
                    <a:moveTo>
                      <a:pt x="127" y="1"/>
                    </a:moveTo>
                    <a:lnTo>
                      <a:pt x="1" y="571"/>
                    </a:lnTo>
                    <a:cubicBezTo>
                      <a:pt x="507" y="697"/>
                      <a:pt x="1014" y="792"/>
                      <a:pt x="1584" y="919"/>
                    </a:cubicBezTo>
                    <a:lnTo>
                      <a:pt x="1679" y="317"/>
                    </a:lnTo>
                    <a:cubicBezTo>
                      <a:pt x="1141" y="222"/>
                      <a:pt x="634" y="96"/>
                      <a:pt x="12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1" name="Google Shape;931;p27"/>
              <p:cNvSpPr/>
              <p:nvPr/>
            </p:nvSpPr>
            <p:spPr>
              <a:xfrm>
                <a:off x="6570870" y="2772605"/>
                <a:ext cx="55180" cy="39861"/>
              </a:xfrm>
              <a:custGeom>
                <a:avLst/>
                <a:gdLst/>
                <a:ahLst/>
                <a:cxnLst/>
                <a:rect l="l" t="t" r="r" b="b"/>
                <a:pathLst>
                  <a:path w="1711" h="1236" extrusionOk="0">
                    <a:moveTo>
                      <a:pt x="1457" y="1"/>
                    </a:moveTo>
                    <a:cubicBezTo>
                      <a:pt x="919" y="254"/>
                      <a:pt x="444" y="476"/>
                      <a:pt x="0" y="729"/>
                    </a:cubicBezTo>
                    <a:lnTo>
                      <a:pt x="285" y="1236"/>
                    </a:lnTo>
                    <a:cubicBezTo>
                      <a:pt x="697" y="1014"/>
                      <a:pt x="1172" y="792"/>
                      <a:pt x="1711" y="571"/>
                    </a:cubicBezTo>
                    <a:lnTo>
                      <a:pt x="1457"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2" name="Google Shape;932;p27"/>
              <p:cNvSpPr/>
              <p:nvPr/>
            </p:nvSpPr>
            <p:spPr>
              <a:xfrm>
                <a:off x="6568838" y="3535543"/>
                <a:ext cx="55180" cy="39861"/>
              </a:xfrm>
              <a:custGeom>
                <a:avLst/>
                <a:gdLst/>
                <a:ahLst/>
                <a:cxnLst/>
                <a:rect l="l" t="t" r="r" b="b"/>
                <a:pathLst>
                  <a:path w="1711" h="1236" extrusionOk="0">
                    <a:moveTo>
                      <a:pt x="1489" y="0"/>
                    </a:moveTo>
                    <a:cubicBezTo>
                      <a:pt x="950" y="222"/>
                      <a:pt x="443" y="475"/>
                      <a:pt x="0" y="729"/>
                    </a:cubicBezTo>
                    <a:lnTo>
                      <a:pt x="317" y="1235"/>
                    </a:lnTo>
                    <a:cubicBezTo>
                      <a:pt x="728" y="1014"/>
                      <a:pt x="1204" y="760"/>
                      <a:pt x="1710" y="539"/>
                    </a:cubicBezTo>
                    <a:lnTo>
                      <a:pt x="1489"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3" name="Google Shape;933;p27"/>
              <p:cNvSpPr/>
              <p:nvPr/>
            </p:nvSpPr>
            <p:spPr>
              <a:xfrm>
                <a:off x="6556583" y="3737751"/>
                <a:ext cx="55180" cy="36797"/>
              </a:xfrm>
              <a:custGeom>
                <a:avLst/>
                <a:gdLst/>
                <a:ahLst/>
                <a:cxnLst/>
                <a:rect l="l" t="t" r="r" b="b"/>
                <a:pathLst>
                  <a:path w="1711" h="1141" extrusionOk="0">
                    <a:moveTo>
                      <a:pt x="253" y="1"/>
                    </a:moveTo>
                    <a:lnTo>
                      <a:pt x="0" y="571"/>
                    </a:lnTo>
                    <a:cubicBezTo>
                      <a:pt x="443" y="761"/>
                      <a:pt x="982" y="951"/>
                      <a:pt x="1552" y="1141"/>
                    </a:cubicBezTo>
                    <a:lnTo>
                      <a:pt x="1710" y="571"/>
                    </a:lnTo>
                    <a:cubicBezTo>
                      <a:pt x="1172" y="381"/>
                      <a:pt x="665" y="191"/>
                      <a:pt x="253"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4" name="Google Shape;934;p27"/>
              <p:cNvSpPr/>
              <p:nvPr/>
            </p:nvSpPr>
            <p:spPr>
              <a:xfrm>
                <a:off x="7169366" y="3047343"/>
                <a:ext cx="52116" cy="20479"/>
              </a:xfrm>
              <a:custGeom>
                <a:avLst/>
                <a:gdLst/>
                <a:ahLst/>
                <a:cxnLst/>
                <a:rect l="l" t="t" r="r" b="b"/>
                <a:pathLst>
                  <a:path w="1616" h="635" extrusionOk="0">
                    <a:moveTo>
                      <a:pt x="1584" y="1"/>
                    </a:moveTo>
                    <a:cubicBezTo>
                      <a:pt x="1046" y="32"/>
                      <a:pt x="507" y="32"/>
                      <a:pt x="1" y="32"/>
                    </a:cubicBezTo>
                    <a:lnTo>
                      <a:pt x="1" y="634"/>
                    </a:lnTo>
                    <a:cubicBezTo>
                      <a:pt x="539" y="634"/>
                      <a:pt x="1077" y="634"/>
                      <a:pt x="1616" y="602"/>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5" name="Google Shape;935;p27"/>
              <p:cNvSpPr/>
              <p:nvPr/>
            </p:nvSpPr>
            <p:spPr>
              <a:xfrm>
                <a:off x="7377733" y="3794962"/>
                <a:ext cx="53116" cy="24542"/>
              </a:xfrm>
              <a:custGeom>
                <a:avLst/>
                <a:gdLst/>
                <a:ahLst/>
                <a:cxnLst/>
                <a:rect l="l" t="t" r="r" b="b"/>
                <a:pathLst>
                  <a:path w="1647" h="761" extrusionOk="0">
                    <a:moveTo>
                      <a:pt x="1583" y="0"/>
                    </a:moveTo>
                    <a:cubicBezTo>
                      <a:pt x="1045" y="64"/>
                      <a:pt x="507" y="95"/>
                      <a:pt x="0" y="159"/>
                    </a:cubicBezTo>
                    <a:lnTo>
                      <a:pt x="32" y="760"/>
                    </a:lnTo>
                    <a:cubicBezTo>
                      <a:pt x="570" y="697"/>
                      <a:pt x="1108" y="665"/>
                      <a:pt x="1647" y="602"/>
                    </a:cubicBezTo>
                    <a:lnTo>
                      <a:pt x="158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6" name="Google Shape;936;p27"/>
              <p:cNvSpPr/>
              <p:nvPr/>
            </p:nvSpPr>
            <p:spPr>
              <a:xfrm>
                <a:off x="7374669" y="3034056"/>
                <a:ext cx="53116" cy="23542"/>
              </a:xfrm>
              <a:custGeom>
                <a:avLst/>
                <a:gdLst/>
                <a:ahLst/>
                <a:cxnLst/>
                <a:rect l="l" t="t" r="r" b="b"/>
                <a:pathLst>
                  <a:path w="1647" h="730" extrusionOk="0">
                    <a:moveTo>
                      <a:pt x="1583" y="1"/>
                    </a:moveTo>
                    <a:cubicBezTo>
                      <a:pt x="1045" y="33"/>
                      <a:pt x="538" y="96"/>
                      <a:pt x="0" y="128"/>
                    </a:cubicBezTo>
                    <a:lnTo>
                      <a:pt x="32" y="729"/>
                    </a:lnTo>
                    <a:cubicBezTo>
                      <a:pt x="570" y="698"/>
                      <a:pt x="1108" y="634"/>
                      <a:pt x="1647" y="603"/>
                    </a:cubicBezTo>
                    <a:lnTo>
                      <a:pt x="1583"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7" name="Google Shape;937;p27"/>
              <p:cNvSpPr/>
              <p:nvPr/>
            </p:nvSpPr>
            <p:spPr>
              <a:xfrm>
                <a:off x="7379765" y="3407865"/>
                <a:ext cx="52116" cy="20479"/>
              </a:xfrm>
              <a:custGeom>
                <a:avLst/>
                <a:gdLst/>
                <a:ahLst/>
                <a:cxnLst/>
                <a:rect l="l" t="t" r="r" b="b"/>
                <a:pathLst>
                  <a:path w="1616" h="635" extrusionOk="0">
                    <a:moveTo>
                      <a:pt x="1615" y="1"/>
                    </a:moveTo>
                    <a:cubicBezTo>
                      <a:pt x="1077" y="1"/>
                      <a:pt x="539" y="32"/>
                      <a:pt x="0" y="32"/>
                    </a:cubicBezTo>
                    <a:lnTo>
                      <a:pt x="32" y="634"/>
                    </a:lnTo>
                    <a:cubicBezTo>
                      <a:pt x="539" y="634"/>
                      <a:pt x="1077" y="602"/>
                      <a:pt x="1615" y="602"/>
                    </a:cubicBezTo>
                    <a:lnTo>
                      <a:pt x="1615"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8" name="Google Shape;938;p27"/>
              <p:cNvSpPr/>
              <p:nvPr/>
            </p:nvSpPr>
            <p:spPr>
              <a:xfrm>
                <a:off x="7274565" y="3804153"/>
                <a:ext cx="53148" cy="21479"/>
              </a:xfrm>
              <a:custGeom>
                <a:avLst/>
                <a:gdLst/>
                <a:ahLst/>
                <a:cxnLst/>
                <a:rect l="l" t="t" r="r" b="b"/>
                <a:pathLst>
                  <a:path w="1648" h="666" extrusionOk="0">
                    <a:moveTo>
                      <a:pt x="1584" y="0"/>
                    </a:moveTo>
                    <a:cubicBezTo>
                      <a:pt x="1077" y="32"/>
                      <a:pt x="539" y="64"/>
                      <a:pt x="0" y="95"/>
                    </a:cubicBezTo>
                    <a:lnTo>
                      <a:pt x="32" y="665"/>
                    </a:lnTo>
                    <a:cubicBezTo>
                      <a:pt x="570" y="665"/>
                      <a:pt x="1109" y="602"/>
                      <a:pt x="1647" y="570"/>
                    </a:cubicBez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39" name="Google Shape;939;p27"/>
              <p:cNvSpPr/>
              <p:nvPr/>
            </p:nvSpPr>
            <p:spPr>
              <a:xfrm>
                <a:off x="7278661" y="2650055"/>
                <a:ext cx="52116" cy="21478"/>
              </a:xfrm>
              <a:custGeom>
                <a:avLst/>
                <a:gdLst/>
                <a:ahLst/>
                <a:cxnLst/>
                <a:rect l="l" t="t" r="r" b="b"/>
                <a:pathLst>
                  <a:path w="1616" h="666" extrusionOk="0">
                    <a:moveTo>
                      <a:pt x="1584" y="0"/>
                    </a:moveTo>
                    <a:cubicBezTo>
                      <a:pt x="1045" y="0"/>
                      <a:pt x="507" y="32"/>
                      <a:pt x="0" y="64"/>
                    </a:cubicBezTo>
                    <a:lnTo>
                      <a:pt x="32" y="666"/>
                    </a:lnTo>
                    <a:cubicBezTo>
                      <a:pt x="538" y="634"/>
                      <a:pt x="1077" y="602"/>
                      <a:pt x="1615" y="571"/>
                    </a:cubicBez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0" name="Google Shape;940;p27"/>
              <p:cNvSpPr/>
              <p:nvPr/>
            </p:nvSpPr>
            <p:spPr>
              <a:xfrm>
                <a:off x="7276597" y="3410929"/>
                <a:ext cx="53148" cy="22511"/>
              </a:xfrm>
              <a:custGeom>
                <a:avLst/>
                <a:gdLst/>
                <a:ahLst/>
                <a:cxnLst/>
                <a:rect l="l" t="t" r="r" b="b"/>
                <a:pathLst>
                  <a:path w="1648" h="698" extrusionOk="0">
                    <a:moveTo>
                      <a:pt x="1616" y="1"/>
                    </a:moveTo>
                    <a:cubicBezTo>
                      <a:pt x="1078" y="32"/>
                      <a:pt x="539" y="64"/>
                      <a:pt x="1" y="96"/>
                    </a:cubicBezTo>
                    <a:lnTo>
                      <a:pt x="32" y="698"/>
                    </a:lnTo>
                    <a:cubicBezTo>
                      <a:pt x="571" y="666"/>
                      <a:pt x="1109" y="634"/>
                      <a:pt x="1648" y="603"/>
                    </a:cubicBezTo>
                    <a:lnTo>
                      <a:pt x="1616"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1" name="Google Shape;941;p27"/>
              <p:cNvSpPr/>
              <p:nvPr/>
            </p:nvSpPr>
            <p:spPr>
              <a:xfrm>
                <a:off x="7479836" y="3783707"/>
                <a:ext cx="53148" cy="25574"/>
              </a:xfrm>
              <a:custGeom>
                <a:avLst/>
                <a:gdLst/>
                <a:ahLst/>
                <a:cxnLst/>
                <a:rect l="l" t="t" r="r" b="b"/>
                <a:pathLst>
                  <a:path w="1648" h="793" extrusionOk="0">
                    <a:moveTo>
                      <a:pt x="1584" y="1"/>
                    </a:moveTo>
                    <a:cubicBezTo>
                      <a:pt x="1046" y="64"/>
                      <a:pt x="539" y="128"/>
                      <a:pt x="1" y="191"/>
                    </a:cubicBezTo>
                    <a:lnTo>
                      <a:pt x="64" y="793"/>
                    </a:lnTo>
                    <a:cubicBezTo>
                      <a:pt x="603" y="729"/>
                      <a:pt x="1141" y="666"/>
                      <a:pt x="1648"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2" name="Google Shape;942;p27"/>
              <p:cNvSpPr/>
              <p:nvPr/>
            </p:nvSpPr>
            <p:spPr>
              <a:xfrm>
                <a:off x="7484964" y="2645959"/>
                <a:ext cx="52116" cy="19447"/>
              </a:xfrm>
              <a:custGeom>
                <a:avLst/>
                <a:gdLst/>
                <a:ahLst/>
                <a:cxnLst/>
                <a:rect l="l" t="t" r="r" b="b"/>
                <a:pathLst>
                  <a:path w="1616" h="603" extrusionOk="0">
                    <a:moveTo>
                      <a:pt x="0" y="1"/>
                    </a:moveTo>
                    <a:lnTo>
                      <a:pt x="0" y="603"/>
                    </a:lnTo>
                    <a:lnTo>
                      <a:pt x="1584" y="603"/>
                    </a:lnTo>
                    <a:lnTo>
                      <a:pt x="1615"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3" name="Google Shape;943;p27"/>
              <p:cNvSpPr/>
              <p:nvPr/>
            </p:nvSpPr>
            <p:spPr>
              <a:xfrm>
                <a:off x="7381796" y="2645959"/>
                <a:ext cx="52116" cy="21478"/>
              </a:xfrm>
              <a:custGeom>
                <a:avLst/>
                <a:gdLst/>
                <a:ahLst/>
                <a:cxnLst/>
                <a:rect l="l" t="t" r="r" b="b"/>
                <a:pathLst>
                  <a:path w="1616" h="666" extrusionOk="0">
                    <a:moveTo>
                      <a:pt x="1584" y="1"/>
                    </a:moveTo>
                    <a:cubicBezTo>
                      <a:pt x="1046" y="32"/>
                      <a:pt x="539" y="32"/>
                      <a:pt x="1" y="64"/>
                    </a:cubicBezTo>
                    <a:lnTo>
                      <a:pt x="1" y="666"/>
                    </a:lnTo>
                    <a:cubicBezTo>
                      <a:pt x="539" y="634"/>
                      <a:pt x="1077" y="634"/>
                      <a:pt x="1616"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4" name="Google Shape;944;p27"/>
              <p:cNvSpPr/>
              <p:nvPr/>
            </p:nvSpPr>
            <p:spPr>
              <a:xfrm>
                <a:off x="7476773" y="3022833"/>
                <a:ext cx="54180" cy="24542"/>
              </a:xfrm>
              <a:custGeom>
                <a:avLst/>
                <a:gdLst/>
                <a:ahLst/>
                <a:cxnLst/>
                <a:rect l="l" t="t" r="r" b="b"/>
                <a:pathLst>
                  <a:path w="1680" h="761" extrusionOk="0">
                    <a:moveTo>
                      <a:pt x="1584" y="1"/>
                    </a:moveTo>
                    <a:cubicBezTo>
                      <a:pt x="1078" y="64"/>
                      <a:pt x="539" y="127"/>
                      <a:pt x="1" y="191"/>
                    </a:cubicBezTo>
                    <a:lnTo>
                      <a:pt x="64" y="761"/>
                    </a:lnTo>
                    <a:cubicBezTo>
                      <a:pt x="603" y="697"/>
                      <a:pt x="1141" y="634"/>
                      <a:pt x="1679" y="571"/>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5" name="Google Shape;945;p27"/>
              <p:cNvSpPr/>
              <p:nvPr/>
            </p:nvSpPr>
            <p:spPr>
              <a:xfrm>
                <a:off x="7173461" y="3417057"/>
                <a:ext cx="53116" cy="23543"/>
              </a:xfrm>
              <a:custGeom>
                <a:avLst/>
                <a:gdLst/>
                <a:ahLst/>
                <a:cxnLst/>
                <a:rect l="l" t="t" r="r" b="b"/>
                <a:pathLst>
                  <a:path w="1647" h="730" extrusionOk="0">
                    <a:moveTo>
                      <a:pt x="1584" y="1"/>
                    </a:moveTo>
                    <a:cubicBezTo>
                      <a:pt x="1045" y="32"/>
                      <a:pt x="539" y="96"/>
                      <a:pt x="0" y="127"/>
                    </a:cubicBezTo>
                    <a:lnTo>
                      <a:pt x="64" y="729"/>
                    </a:lnTo>
                    <a:cubicBezTo>
                      <a:pt x="570" y="698"/>
                      <a:pt x="1109" y="634"/>
                      <a:pt x="1647"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6" name="Google Shape;946;p27"/>
              <p:cNvSpPr/>
              <p:nvPr/>
            </p:nvSpPr>
            <p:spPr>
              <a:xfrm>
                <a:off x="7068262" y="3811313"/>
                <a:ext cx="52116" cy="19414"/>
              </a:xfrm>
              <a:custGeom>
                <a:avLst/>
                <a:gdLst/>
                <a:ahLst/>
                <a:cxnLst/>
                <a:rect l="l" t="t" r="r" b="b"/>
                <a:pathLst>
                  <a:path w="1616" h="602" extrusionOk="0">
                    <a:moveTo>
                      <a:pt x="32" y="0"/>
                    </a:moveTo>
                    <a:lnTo>
                      <a:pt x="0" y="570"/>
                    </a:lnTo>
                    <a:cubicBezTo>
                      <a:pt x="412" y="602"/>
                      <a:pt x="824" y="602"/>
                      <a:pt x="1235" y="602"/>
                    </a:cubicBez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7" name="Google Shape;947;p27"/>
              <p:cNvSpPr/>
              <p:nvPr/>
            </p:nvSpPr>
            <p:spPr>
              <a:xfrm>
                <a:off x="7072325" y="2664342"/>
                <a:ext cx="53148" cy="24542"/>
              </a:xfrm>
              <a:custGeom>
                <a:avLst/>
                <a:gdLst/>
                <a:ahLst/>
                <a:cxnLst/>
                <a:rect l="l" t="t" r="r" b="b"/>
                <a:pathLst>
                  <a:path w="1648" h="761" extrusionOk="0">
                    <a:moveTo>
                      <a:pt x="1584" y="1"/>
                    </a:moveTo>
                    <a:cubicBezTo>
                      <a:pt x="1046" y="33"/>
                      <a:pt x="508" y="96"/>
                      <a:pt x="1" y="159"/>
                    </a:cubicBezTo>
                    <a:lnTo>
                      <a:pt x="64" y="761"/>
                    </a:lnTo>
                    <a:cubicBezTo>
                      <a:pt x="571" y="698"/>
                      <a:pt x="1109" y="634"/>
                      <a:pt x="1648"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8" name="Google Shape;948;p27"/>
              <p:cNvSpPr/>
              <p:nvPr/>
            </p:nvSpPr>
            <p:spPr>
              <a:xfrm>
                <a:off x="7070294" y="3426248"/>
                <a:ext cx="53148" cy="24542"/>
              </a:xfrm>
              <a:custGeom>
                <a:avLst/>
                <a:gdLst/>
                <a:ahLst/>
                <a:cxnLst/>
                <a:rect l="l" t="t" r="r" b="b"/>
                <a:pathLst>
                  <a:path w="1648" h="761" extrusionOk="0">
                    <a:moveTo>
                      <a:pt x="1616" y="1"/>
                    </a:moveTo>
                    <a:cubicBezTo>
                      <a:pt x="1077" y="64"/>
                      <a:pt x="539" y="96"/>
                      <a:pt x="1" y="159"/>
                    </a:cubicBezTo>
                    <a:lnTo>
                      <a:pt x="64" y="761"/>
                    </a:lnTo>
                    <a:cubicBezTo>
                      <a:pt x="602" y="698"/>
                      <a:pt x="1141" y="634"/>
                      <a:pt x="1647" y="603"/>
                    </a:cubicBezTo>
                    <a:lnTo>
                      <a:pt x="1616"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49" name="Google Shape;949;p27"/>
              <p:cNvSpPr/>
              <p:nvPr/>
            </p:nvSpPr>
            <p:spPr>
              <a:xfrm>
                <a:off x="7066198" y="3049407"/>
                <a:ext cx="51116" cy="19415"/>
              </a:xfrm>
              <a:custGeom>
                <a:avLst/>
                <a:gdLst/>
                <a:ahLst/>
                <a:cxnLst/>
                <a:rect l="l" t="t" r="r" b="b"/>
                <a:pathLst>
                  <a:path w="1585" h="602" extrusionOk="0">
                    <a:moveTo>
                      <a:pt x="1" y="0"/>
                    </a:moveTo>
                    <a:lnTo>
                      <a:pt x="1" y="602"/>
                    </a:lnTo>
                    <a:lnTo>
                      <a:pt x="1584" y="602"/>
                    </a:lnTo>
                    <a:lnTo>
                      <a:pt x="1584"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0" name="Google Shape;950;p27"/>
              <p:cNvSpPr/>
              <p:nvPr/>
            </p:nvSpPr>
            <p:spPr>
              <a:xfrm>
                <a:off x="6969190" y="2676597"/>
                <a:ext cx="54148" cy="25574"/>
              </a:xfrm>
              <a:custGeom>
                <a:avLst/>
                <a:gdLst/>
                <a:ahLst/>
                <a:cxnLst/>
                <a:rect l="l" t="t" r="r" b="b"/>
                <a:pathLst>
                  <a:path w="1679" h="793" extrusionOk="0">
                    <a:moveTo>
                      <a:pt x="1584" y="1"/>
                    </a:moveTo>
                    <a:cubicBezTo>
                      <a:pt x="1045" y="64"/>
                      <a:pt x="507" y="128"/>
                      <a:pt x="0" y="223"/>
                    </a:cubicBezTo>
                    <a:lnTo>
                      <a:pt x="95" y="793"/>
                    </a:lnTo>
                    <a:cubicBezTo>
                      <a:pt x="602" y="729"/>
                      <a:pt x="1140" y="666"/>
                      <a:pt x="1679" y="571"/>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1" name="Google Shape;951;p27"/>
              <p:cNvSpPr/>
              <p:nvPr/>
            </p:nvSpPr>
            <p:spPr>
              <a:xfrm>
                <a:off x="7171397" y="3809249"/>
                <a:ext cx="52116" cy="20479"/>
              </a:xfrm>
              <a:custGeom>
                <a:avLst/>
                <a:gdLst/>
                <a:ahLst/>
                <a:cxnLst/>
                <a:rect l="l" t="t" r="r" b="b"/>
                <a:pathLst>
                  <a:path w="1616" h="635" extrusionOk="0">
                    <a:moveTo>
                      <a:pt x="1616" y="1"/>
                    </a:moveTo>
                    <a:cubicBezTo>
                      <a:pt x="1078" y="1"/>
                      <a:pt x="539" y="32"/>
                      <a:pt x="1" y="32"/>
                    </a:cubicBezTo>
                    <a:lnTo>
                      <a:pt x="33" y="634"/>
                    </a:lnTo>
                    <a:cubicBezTo>
                      <a:pt x="571" y="634"/>
                      <a:pt x="1078" y="602"/>
                      <a:pt x="1616" y="602"/>
                    </a:cubicBezTo>
                    <a:lnTo>
                      <a:pt x="1616"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2" name="Google Shape;952;p27"/>
              <p:cNvSpPr/>
              <p:nvPr/>
            </p:nvSpPr>
            <p:spPr>
              <a:xfrm>
                <a:off x="7578908" y="3007514"/>
                <a:ext cx="54180" cy="26574"/>
              </a:xfrm>
              <a:custGeom>
                <a:avLst/>
                <a:gdLst/>
                <a:ahLst/>
                <a:cxnLst/>
                <a:rect l="l" t="t" r="r" b="b"/>
                <a:pathLst>
                  <a:path w="1680" h="824" extrusionOk="0">
                    <a:moveTo>
                      <a:pt x="1584" y="1"/>
                    </a:moveTo>
                    <a:cubicBezTo>
                      <a:pt x="1046" y="96"/>
                      <a:pt x="539" y="159"/>
                      <a:pt x="1" y="254"/>
                    </a:cubicBezTo>
                    <a:lnTo>
                      <a:pt x="96" y="824"/>
                    </a:lnTo>
                    <a:cubicBezTo>
                      <a:pt x="603" y="761"/>
                      <a:pt x="1141" y="666"/>
                      <a:pt x="1679" y="571"/>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3" name="Google Shape;953;p27"/>
              <p:cNvSpPr/>
              <p:nvPr/>
            </p:nvSpPr>
            <p:spPr>
              <a:xfrm>
                <a:off x="6968158" y="3438503"/>
                <a:ext cx="53148" cy="26606"/>
              </a:xfrm>
              <a:custGeom>
                <a:avLst/>
                <a:gdLst/>
                <a:ahLst/>
                <a:cxnLst/>
                <a:rect l="l" t="t" r="r" b="b"/>
                <a:pathLst>
                  <a:path w="1648" h="825" extrusionOk="0">
                    <a:moveTo>
                      <a:pt x="1584" y="1"/>
                    </a:moveTo>
                    <a:cubicBezTo>
                      <a:pt x="1046" y="64"/>
                      <a:pt x="507" y="128"/>
                      <a:pt x="1" y="223"/>
                    </a:cubicBezTo>
                    <a:lnTo>
                      <a:pt x="64" y="824"/>
                    </a:lnTo>
                    <a:cubicBezTo>
                      <a:pt x="602" y="729"/>
                      <a:pt x="1109" y="666"/>
                      <a:pt x="1648" y="571"/>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4" name="Google Shape;954;p27"/>
              <p:cNvSpPr/>
              <p:nvPr/>
            </p:nvSpPr>
            <p:spPr>
              <a:xfrm>
                <a:off x="7175493" y="2655150"/>
                <a:ext cx="52116" cy="23542"/>
              </a:xfrm>
              <a:custGeom>
                <a:avLst/>
                <a:gdLst/>
                <a:ahLst/>
                <a:cxnLst/>
                <a:rect l="l" t="t" r="r" b="b"/>
                <a:pathLst>
                  <a:path w="1616" h="730" extrusionOk="0">
                    <a:moveTo>
                      <a:pt x="1584" y="1"/>
                    </a:moveTo>
                    <a:cubicBezTo>
                      <a:pt x="1046" y="32"/>
                      <a:pt x="507" y="96"/>
                      <a:pt x="1" y="127"/>
                    </a:cubicBezTo>
                    <a:lnTo>
                      <a:pt x="32" y="729"/>
                    </a:lnTo>
                    <a:cubicBezTo>
                      <a:pt x="571" y="698"/>
                      <a:pt x="1077" y="634"/>
                      <a:pt x="1616" y="603"/>
                    </a:cubicBez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5" name="Google Shape;955;p27"/>
              <p:cNvSpPr/>
              <p:nvPr/>
            </p:nvSpPr>
            <p:spPr>
              <a:xfrm>
                <a:off x="7271501" y="3042247"/>
                <a:ext cx="53148" cy="22510"/>
              </a:xfrm>
              <a:custGeom>
                <a:avLst/>
                <a:gdLst/>
                <a:ahLst/>
                <a:cxnLst/>
                <a:rect l="l" t="t" r="r" b="b"/>
                <a:pathLst>
                  <a:path w="1648" h="698" extrusionOk="0">
                    <a:moveTo>
                      <a:pt x="1616" y="0"/>
                    </a:moveTo>
                    <a:cubicBezTo>
                      <a:pt x="1077" y="32"/>
                      <a:pt x="539" y="64"/>
                      <a:pt x="0" y="95"/>
                    </a:cubicBezTo>
                    <a:lnTo>
                      <a:pt x="32" y="697"/>
                    </a:lnTo>
                    <a:cubicBezTo>
                      <a:pt x="570" y="665"/>
                      <a:pt x="1109" y="634"/>
                      <a:pt x="1647" y="602"/>
                    </a:cubicBez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6" name="Google Shape;956;p27"/>
              <p:cNvSpPr/>
              <p:nvPr/>
            </p:nvSpPr>
            <p:spPr>
              <a:xfrm>
                <a:off x="7482900" y="1884053"/>
                <a:ext cx="51116" cy="19447"/>
              </a:xfrm>
              <a:custGeom>
                <a:avLst/>
                <a:gdLst/>
                <a:ahLst/>
                <a:cxnLst/>
                <a:rect l="l" t="t" r="r" b="b"/>
                <a:pathLst>
                  <a:path w="1585" h="603" extrusionOk="0">
                    <a:moveTo>
                      <a:pt x="1" y="1"/>
                    </a:moveTo>
                    <a:lnTo>
                      <a:pt x="1" y="603"/>
                    </a:lnTo>
                    <a:lnTo>
                      <a:pt x="1584" y="603"/>
                    </a:lnTo>
                    <a:lnTo>
                      <a:pt x="158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7" name="Google Shape;957;p27"/>
              <p:cNvSpPr/>
              <p:nvPr/>
            </p:nvSpPr>
            <p:spPr>
              <a:xfrm>
                <a:off x="6474862" y="762656"/>
                <a:ext cx="2068225" cy="1544259"/>
              </a:xfrm>
              <a:custGeom>
                <a:avLst/>
                <a:gdLst/>
                <a:ahLst/>
                <a:cxnLst/>
                <a:rect l="l" t="t" r="r" b="b"/>
                <a:pathLst>
                  <a:path w="64131" h="47884" extrusionOk="0">
                    <a:moveTo>
                      <a:pt x="38605" y="0"/>
                    </a:moveTo>
                    <a:lnTo>
                      <a:pt x="38257" y="507"/>
                    </a:lnTo>
                    <a:cubicBezTo>
                      <a:pt x="38700" y="792"/>
                      <a:pt x="39144" y="1077"/>
                      <a:pt x="39587" y="1394"/>
                    </a:cubicBezTo>
                    <a:lnTo>
                      <a:pt x="39904" y="887"/>
                    </a:lnTo>
                    <a:cubicBezTo>
                      <a:pt x="39492" y="602"/>
                      <a:pt x="39049" y="285"/>
                      <a:pt x="38605" y="0"/>
                    </a:cubicBezTo>
                    <a:close/>
                    <a:moveTo>
                      <a:pt x="41234" y="1742"/>
                    </a:moveTo>
                    <a:lnTo>
                      <a:pt x="40917" y="2249"/>
                    </a:lnTo>
                    <a:lnTo>
                      <a:pt x="42215" y="3104"/>
                    </a:lnTo>
                    <a:lnTo>
                      <a:pt x="42564" y="2629"/>
                    </a:lnTo>
                    <a:lnTo>
                      <a:pt x="41234" y="1742"/>
                    </a:lnTo>
                    <a:close/>
                    <a:moveTo>
                      <a:pt x="43894" y="3484"/>
                    </a:moveTo>
                    <a:lnTo>
                      <a:pt x="43546" y="3991"/>
                    </a:lnTo>
                    <a:cubicBezTo>
                      <a:pt x="43989" y="4276"/>
                      <a:pt x="44432" y="4561"/>
                      <a:pt x="44876" y="4877"/>
                    </a:cubicBezTo>
                    <a:lnTo>
                      <a:pt x="45192" y="4371"/>
                    </a:lnTo>
                    <a:cubicBezTo>
                      <a:pt x="44749" y="4086"/>
                      <a:pt x="44306" y="3769"/>
                      <a:pt x="43894" y="3484"/>
                    </a:cubicBezTo>
                    <a:close/>
                    <a:moveTo>
                      <a:pt x="46522" y="5257"/>
                    </a:moveTo>
                    <a:lnTo>
                      <a:pt x="46174" y="5732"/>
                    </a:lnTo>
                    <a:cubicBezTo>
                      <a:pt x="46617" y="6049"/>
                      <a:pt x="47061" y="6334"/>
                      <a:pt x="47472" y="6619"/>
                    </a:cubicBezTo>
                    <a:lnTo>
                      <a:pt x="47821" y="6144"/>
                    </a:lnTo>
                    <a:cubicBezTo>
                      <a:pt x="47377" y="5859"/>
                      <a:pt x="46966" y="5542"/>
                      <a:pt x="46522" y="5257"/>
                    </a:cubicBezTo>
                    <a:close/>
                    <a:moveTo>
                      <a:pt x="49119" y="7031"/>
                    </a:moveTo>
                    <a:lnTo>
                      <a:pt x="48771" y="7538"/>
                    </a:lnTo>
                    <a:cubicBezTo>
                      <a:pt x="49214" y="7823"/>
                      <a:pt x="49626" y="8139"/>
                      <a:pt x="50069" y="8456"/>
                    </a:cubicBezTo>
                    <a:lnTo>
                      <a:pt x="50418" y="7981"/>
                    </a:lnTo>
                    <a:cubicBezTo>
                      <a:pt x="50006" y="7664"/>
                      <a:pt x="49563" y="7348"/>
                      <a:pt x="49119" y="7031"/>
                    </a:cubicBezTo>
                    <a:close/>
                    <a:moveTo>
                      <a:pt x="51684" y="8899"/>
                    </a:moveTo>
                    <a:lnTo>
                      <a:pt x="51336" y="9374"/>
                    </a:lnTo>
                    <a:cubicBezTo>
                      <a:pt x="51748" y="9723"/>
                      <a:pt x="52191" y="10039"/>
                      <a:pt x="52571" y="10356"/>
                    </a:cubicBezTo>
                    <a:lnTo>
                      <a:pt x="52951" y="9881"/>
                    </a:lnTo>
                    <a:cubicBezTo>
                      <a:pt x="52540" y="9564"/>
                      <a:pt x="52128" y="9248"/>
                      <a:pt x="51684" y="8899"/>
                    </a:cubicBezTo>
                    <a:close/>
                    <a:moveTo>
                      <a:pt x="54186" y="10863"/>
                    </a:moveTo>
                    <a:lnTo>
                      <a:pt x="53806" y="11338"/>
                    </a:lnTo>
                    <a:cubicBezTo>
                      <a:pt x="54218" y="11655"/>
                      <a:pt x="54630" y="12003"/>
                      <a:pt x="55010" y="12351"/>
                    </a:cubicBezTo>
                    <a:lnTo>
                      <a:pt x="55421" y="11876"/>
                    </a:lnTo>
                    <a:cubicBezTo>
                      <a:pt x="55010" y="11560"/>
                      <a:pt x="54630" y="11211"/>
                      <a:pt x="54186" y="10863"/>
                    </a:cubicBezTo>
                    <a:close/>
                    <a:moveTo>
                      <a:pt x="56593" y="12953"/>
                    </a:moveTo>
                    <a:lnTo>
                      <a:pt x="56181" y="13396"/>
                    </a:lnTo>
                    <a:cubicBezTo>
                      <a:pt x="56562" y="13745"/>
                      <a:pt x="56942" y="14125"/>
                      <a:pt x="57322" y="14473"/>
                    </a:cubicBezTo>
                    <a:lnTo>
                      <a:pt x="57733" y="14061"/>
                    </a:lnTo>
                    <a:cubicBezTo>
                      <a:pt x="57385" y="13713"/>
                      <a:pt x="56973" y="13333"/>
                      <a:pt x="56593" y="12953"/>
                    </a:cubicBezTo>
                    <a:close/>
                    <a:moveTo>
                      <a:pt x="58842" y="15233"/>
                    </a:moveTo>
                    <a:lnTo>
                      <a:pt x="58398" y="15613"/>
                    </a:lnTo>
                    <a:cubicBezTo>
                      <a:pt x="58747" y="16025"/>
                      <a:pt x="59095" y="16405"/>
                      <a:pt x="59412" y="16817"/>
                    </a:cubicBezTo>
                    <a:lnTo>
                      <a:pt x="59887" y="16437"/>
                    </a:lnTo>
                    <a:cubicBezTo>
                      <a:pt x="59538" y="16025"/>
                      <a:pt x="59190" y="15613"/>
                      <a:pt x="58842" y="15233"/>
                    </a:cubicBezTo>
                    <a:close/>
                    <a:moveTo>
                      <a:pt x="60837" y="17703"/>
                    </a:moveTo>
                    <a:lnTo>
                      <a:pt x="60362" y="18052"/>
                    </a:lnTo>
                    <a:cubicBezTo>
                      <a:pt x="60647" y="18495"/>
                      <a:pt x="60964" y="18938"/>
                      <a:pt x="61217" y="19350"/>
                    </a:cubicBezTo>
                    <a:lnTo>
                      <a:pt x="61724" y="19033"/>
                    </a:lnTo>
                    <a:cubicBezTo>
                      <a:pt x="61470" y="18590"/>
                      <a:pt x="61154" y="18147"/>
                      <a:pt x="60837" y="17703"/>
                    </a:cubicBezTo>
                    <a:close/>
                    <a:moveTo>
                      <a:pt x="62484" y="20458"/>
                    </a:moveTo>
                    <a:lnTo>
                      <a:pt x="61977" y="20712"/>
                    </a:lnTo>
                    <a:cubicBezTo>
                      <a:pt x="62199" y="21187"/>
                      <a:pt x="62420" y="21662"/>
                      <a:pt x="62579" y="22137"/>
                    </a:cubicBezTo>
                    <a:lnTo>
                      <a:pt x="63149" y="21915"/>
                    </a:lnTo>
                    <a:cubicBezTo>
                      <a:pt x="62959" y="21440"/>
                      <a:pt x="62737" y="20934"/>
                      <a:pt x="62484" y="20458"/>
                    </a:cubicBezTo>
                    <a:close/>
                    <a:moveTo>
                      <a:pt x="63655" y="23435"/>
                    </a:moveTo>
                    <a:lnTo>
                      <a:pt x="63054" y="23594"/>
                    </a:lnTo>
                    <a:cubicBezTo>
                      <a:pt x="63212" y="24100"/>
                      <a:pt x="63307" y="24607"/>
                      <a:pt x="63402" y="25114"/>
                    </a:cubicBezTo>
                    <a:lnTo>
                      <a:pt x="63972" y="25019"/>
                    </a:lnTo>
                    <a:cubicBezTo>
                      <a:pt x="63909" y="24512"/>
                      <a:pt x="63782" y="23974"/>
                      <a:pt x="63655" y="23435"/>
                    </a:cubicBezTo>
                    <a:close/>
                    <a:moveTo>
                      <a:pt x="63529" y="26634"/>
                    </a:moveTo>
                    <a:cubicBezTo>
                      <a:pt x="63529" y="26824"/>
                      <a:pt x="63560" y="27014"/>
                      <a:pt x="63560" y="27204"/>
                    </a:cubicBezTo>
                    <a:cubicBezTo>
                      <a:pt x="63560" y="27552"/>
                      <a:pt x="63529" y="27869"/>
                      <a:pt x="63497" y="28186"/>
                    </a:cubicBezTo>
                    <a:lnTo>
                      <a:pt x="64099" y="28249"/>
                    </a:lnTo>
                    <a:cubicBezTo>
                      <a:pt x="64130" y="27901"/>
                      <a:pt x="64130" y="27552"/>
                      <a:pt x="64130" y="27204"/>
                    </a:cubicBezTo>
                    <a:cubicBezTo>
                      <a:pt x="64130" y="27014"/>
                      <a:pt x="64130" y="26824"/>
                      <a:pt x="64130" y="26634"/>
                    </a:cubicBezTo>
                    <a:close/>
                    <a:moveTo>
                      <a:pt x="63275" y="29706"/>
                    </a:moveTo>
                    <a:cubicBezTo>
                      <a:pt x="63180" y="30212"/>
                      <a:pt x="63054" y="30719"/>
                      <a:pt x="62864" y="31194"/>
                    </a:cubicBezTo>
                    <a:lnTo>
                      <a:pt x="63434" y="31384"/>
                    </a:lnTo>
                    <a:cubicBezTo>
                      <a:pt x="63624" y="30878"/>
                      <a:pt x="63750" y="30371"/>
                      <a:pt x="63877" y="29832"/>
                    </a:cubicBezTo>
                    <a:lnTo>
                      <a:pt x="63275" y="29706"/>
                    </a:lnTo>
                    <a:close/>
                    <a:moveTo>
                      <a:pt x="62262" y="32588"/>
                    </a:moveTo>
                    <a:cubicBezTo>
                      <a:pt x="62040" y="33063"/>
                      <a:pt x="61787" y="33506"/>
                      <a:pt x="61502" y="33949"/>
                    </a:cubicBezTo>
                    <a:lnTo>
                      <a:pt x="62009" y="34266"/>
                    </a:lnTo>
                    <a:cubicBezTo>
                      <a:pt x="62294" y="33823"/>
                      <a:pt x="62579" y="33348"/>
                      <a:pt x="62800" y="32873"/>
                    </a:cubicBezTo>
                    <a:lnTo>
                      <a:pt x="62262" y="32588"/>
                    </a:lnTo>
                    <a:close/>
                    <a:moveTo>
                      <a:pt x="29674" y="34804"/>
                    </a:moveTo>
                    <a:cubicBezTo>
                      <a:pt x="29136" y="34804"/>
                      <a:pt x="28629" y="34836"/>
                      <a:pt x="28091" y="34836"/>
                    </a:cubicBezTo>
                    <a:lnTo>
                      <a:pt x="28123" y="35438"/>
                    </a:lnTo>
                    <a:cubicBezTo>
                      <a:pt x="28629" y="35438"/>
                      <a:pt x="29168" y="35406"/>
                      <a:pt x="29706" y="35406"/>
                    </a:cubicBezTo>
                    <a:lnTo>
                      <a:pt x="29674" y="34804"/>
                    </a:lnTo>
                    <a:close/>
                    <a:moveTo>
                      <a:pt x="26508" y="34899"/>
                    </a:moveTo>
                    <a:cubicBezTo>
                      <a:pt x="25969" y="34931"/>
                      <a:pt x="25462" y="34963"/>
                      <a:pt x="24924" y="34994"/>
                    </a:cubicBezTo>
                    <a:lnTo>
                      <a:pt x="24956" y="35565"/>
                    </a:lnTo>
                    <a:cubicBezTo>
                      <a:pt x="25494" y="35533"/>
                      <a:pt x="26001" y="35533"/>
                      <a:pt x="26539" y="35501"/>
                    </a:cubicBezTo>
                    <a:lnTo>
                      <a:pt x="26508" y="34899"/>
                    </a:lnTo>
                    <a:close/>
                    <a:moveTo>
                      <a:pt x="23341" y="35089"/>
                    </a:moveTo>
                    <a:cubicBezTo>
                      <a:pt x="22802" y="35121"/>
                      <a:pt x="22296" y="35153"/>
                      <a:pt x="21757" y="35216"/>
                    </a:cubicBezTo>
                    <a:lnTo>
                      <a:pt x="21821" y="35786"/>
                    </a:lnTo>
                    <a:cubicBezTo>
                      <a:pt x="22327" y="35755"/>
                      <a:pt x="22866" y="35723"/>
                      <a:pt x="23404" y="35691"/>
                    </a:cubicBezTo>
                    <a:lnTo>
                      <a:pt x="23341" y="35089"/>
                    </a:lnTo>
                    <a:close/>
                    <a:moveTo>
                      <a:pt x="20174" y="35343"/>
                    </a:moveTo>
                    <a:cubicBezTo>
                      <a:pt x="19667" y="35406"/>
                      <a:pt x="19129" y="35470"/>
                      <a:pt x="18622" y="35533"/>
                    </a:cubicBezTo>
                    <a:lnTo>
                      <a:pt x="18685" y="36103"/>
                    </a:lnTo>
                    <a:cubicBezTo>
                      <a:pt x="19192" y="36040"/>
                      <a:pt x="19730" y="35976"/>
                      <a:pt x="20237" y="35945"/>
                    </a:cubicBezTo>
                    <a:lnTo>
                      <a:pt x="20174" y="35343"/>
                    </a:lnTo>
                    <a:close/>
                    <a:moveTo>
                      <a:pt x="17039" y="35723"/>
                    </a:moveTo>
                    <a:cubicBezTo>
                      <a:pt x="16500" y="35786"/>
                      <a:pt x="15993" y="35850"/>
                      <a:pt x="15455" y="35945"/>
                    </a:cubicBezTo>
                    <a:lnTo>
                      <a:pt x="15550" y="36546"/>
                    </a:lnTo>
                    <a:cubicBezTo>
                      <a:pt x="16057" y="36451"/>
                      <a:pt x="16595" y="36388"/>
                      <a:pt x="17134" y="36325"/>
                    </a:cubicBezTo>
                    <a:lnTo>
                      <a:pt x="17039" y="35723"/>
                    </a:lnTo>
                    <a:close/>
                    <a:moveTo>
                      <a:pt x="60583" y="35185"/>
                    </a:moveTo>
                    <a:cubicBezTo>
                      <a:pt x="60267" y="35565"/>
                      <a:pt x="59918" y="35945"/>
                      <a:pt x="59538" y="36325"/>
                    </a:cubicBezTo>
                    <a:lnTo>
                      <a:pt x="59950" y="36736"/>
                    </a:lnTo>
                    <a:cubicBezTo>
                      <a:pt x="60330" y="36356"/>
                      <a:pt x="60710" y="35945"/>
                      <a:pt x="61027" y="35565"/>
                    </a:cubicBezTo>
                    <a:lnTo>
                      <a:pt x="60583" y="35185"/>
                    </a:lnTo>
                    <a:close/>
                    <a:moveTo>
                      <a:pt x="13903" y="36198"/>
                    </a:moveTo>
                    <a:cubicBezTo>
                      <a:pt x="13365" y="36293"/>
                      <a:pt x="12858" y="36388"/>
                      <a:pt x="12351" y="36483"/>
                    </a:cubicBezTo>
                    <a:lnTo>
                      <a:pt x="12446" y="37053"/>
                    </a:lnTo>
                    <a:cubicBezTo>
                      <a:pt x="12953" y="36958"/>
                      <a:pt x="13492" y="36863"/>
                      <a:pt x="13998" y="36768"/>
                    </a:cubicBezTo>
                    <a:lnTo>
                      <a:pt x="13903" y="36198"/>
                    </a:lnTo>
                    <a:close/>
                    <a:moveTo>
                      <a:pt x="10768" y="36800"/>
                    </a:moveTo>
                    <a:cubicBezTo>
                      <a:pt x="10261" y="36926"/>
                      <a:pt x="9723" y="37053"/>
                      <a:pt x="9248" y="37180"/>
                    </a:cubicBezTo>
                    <a:lnTo>
                      <a:pt x="9375" y="37750"/>
                    </a:lnTo>
                    <a:cubicBezTo>
                      <a:pt x="9881" y="37623"/>
                      <a:pt x="10388" y="37496"/>
                      <a:pt x="10926" y="37370"/>
                    </a:cubicBezTo>
                    <a:lnTo>
                      <a:pt x="10768" y="36800"/>
                    </a:lnTo>
                    <a:close/>
                    <a:moveTo>
                      <a:pt x="7696" y="37591"/>
                    </a:moveTo>
                    <a:cubicBezTo>
                      <a:pt x="7158" y="37750"/>
                      <a:pt x="6651" y="37908"/>
                      <a:pt x="6176" y="38066"/>
                    </a:cubicBezTo>
                    <a:lnTo>
                      <a:pt x="6366" y="38636"/>
                    </a:lnTo>
                    <a:cubicBezTo>
                      <a:pt x="6841" y="38478"/>
                      <a:pt x="7348" y="38320"/>
                      <a:pt x="7854" y="38161"/>
                    </a:cubicBezTo>
                    <a:lnTo>
                      <a:pt x="7696" y="37591"/>
                    </a:lnTo>
                    <a:close/>
                    <a:moveTo>
                      <a:pt x="58398" y="37370"/>
                    </a:moveTo>
                    <a:cubicBezTo>
                      <a:pt x="58018" y="37686"/>
                      <a:pt x="57607" y="38035"/>
                      <a:pt x="57163" y="38351"/>
                    </a:cubicBezTo>
                    <a:lnTo>
                      <a:pt x="57512" y="38826"/>
                    </a:lnTo>
                    <a:cubicBezTo>
                      <a:pt x="57955" y="38510"/>
                      <a:pt x="58367" y="38161"/>
                      <a:pt x="58778" y="37813"/>
                    </a:cubicBezTo>
                    <a:lnTo>
                      <a:pt x="58398" y="37370"/>
                    </a:lnTo>
                    <a:close/>
                    <a:moveTo>
                      <a:pt x="4688" y="38636"/>
                    </a:moveTo>
                    <a:cubicBezTo>
                      <a:pt x="4149" y="38858"/>
                      <a:pt x="3674" y="39080"/>
                      <a:pt x="3231" y="39301"/>
                    </a:cubicBezTo>
                    <a:lnTo>
                      <a:pt x="3484" y="39840"/>
                    </a:lnTo>
                    <a:cubicBezTo>
                      <a:pt x="3928" y="39618"/>
                      <a:pt x="4403" y="39396"/>
                      <a:pt x="4909" y="39175"/>
                    </a:cubicBezTo>
                    <a:lnTo>
                      <a:pt x="4688" y="38636"/>
                    </a:lnTo>
                    <a:close/>
                    <a:moveTo>
                      <a:pt x="55865" y="39206"/>
                    </a:moveTo>
                    <a:cubicBezTo>
                      <a:pt x="55453" y="39491"/>
                      <a:pt x="54978" y="39776"/>
                      <a:pt x="54535" y="40030"/>
                    </a:cubicBezTo>
                    <a:lnTo>
                      <a:pt x="54820" y="40537"/>
                    </a:lnTo>
                    <a:cubicBezTo>
                      <a:pt x="55295" y="40283"/>
                      <a:pt x="55770" y="39998"/>
                      <a:pt x="56213" y="39713"/>
                    </a:cubicBezTo>
                    <a:lnTo>
                      <a:pt x="55865" y="39206"/>
                    </a:lnTo>
                    <a:close/>
                    <a:moveTo>
                      <a:pt x="1837" y="40157"/>
                    </a:moveTo>
                    <a:cubicBezTo>
                      <a:pt x="1331" y="40505"/>
                      <a:pt x="919" y="40917"/>
                      <a:pt x="634" y="41297"/>
                    </a:cubicBezTo>
                    <a:lnTo>
                      <a:pt x="1109" y="41645"/>
                    </a:lnTo>
                    <a:cubicBezTo>
                      <a:pt x="1362" y="41297"/>
                      <a:pt x="1711" y="40980"/>
                      <a:pt x="2186" y="40632"/>
                    </a:cubicBezTo>
                    <a:lnTo>
                      <a:pt x="1837" y="40157"/>
                    </a:lnTo>
                    <a:close/>
                    <a:moveTo>
                      <a:pt x="53173" y="40790"/>
                    </a:moveTo>
                    <a:cubicBezTo>
                      <a:pt x="52698" y="41012"/>
                      <a:pt x="52223" y="41233"/>
                      <a:pt x="51748" y="41455"/>
                    </a:cubicBezTo>
                    <a:lnTo>
                      <a:pt x="52001" y="41993"/>
                    </a:lnTo>
                    <a:cubicBezTo>
                      <a:pt x="52476" y="41772"/>
                      <a:pt x="52951" y="41550"/>
                      <a:pt x="53426" y="41297"/>
                    </a:cubicBezTo>
                    <a:lnTo>
                      <a:pt x="53173" y="40790"/>
                    </a:lnTo>
                    <a:close/>
                    <a:moveTo>
                      <a:pt x="50291" y="42088"/>
                    </a:moveTo>
                    <a:cubicBezTo>
                      <a:pt x="49816" y="42278"/>
                      <a:pt x="49341" y="42468"/>
                      <a:pt x="48834" y="42658"/>
                    </a:cubicBezTo>
                    <a:lnTo>
                      <a:pt x="49056" y="43228"/>
                    </a:lnTo>
                    <a:cubicBezTo>
                      <a:pt x="49563" y="43038"/>
                      <a:pt x="50069" y="42817"/>
                      <a:pt x="50544" y="42627"/>
                    </a:cubicBezTo>
                    <a:lnTo>
                      <a:pt x="50291" y="42088"/>
                    </a:lnTo>
                    <a:close/>
                    <a:moveTo>
                      <a:pt x="47346" y="43197"/>
                    </a:moveTo>
                    <a:cubicBezTo>
                      <a:pt x="46871" y="43355"/>
                      <a:pt x="46364" y="43513"/>
                      <a:pt x="45857" y="43672"/>
                    </a:cubicBezTo>
                    <a:lnTo>
                      <a:pt x="46047" y="44242"/>
                    </a:lnTo>
                    <a:cubicBezTo>
                      <a:pt x="46554" y="44083"/>
                      <a:pt x="47061" y="43925"/>
                      <a:pt x="47536" y="43767"/>
                    </a:cubicBezTo>
                    <a:lnTo>
                      <a:pt x="47346" y="43197"/>
                    </a:lnTo>
                    <a:close/>
                    <a:moveTo>
                      <a:pt x="1" y="42880"/>
                    </a:moveTo>
                    <a:lnTo>
                      <a:pt x="1" y="42943"/>
                    </a:lnTo>
                    <a:cubicBezTo>
                      <a:pt x="1" y="43482"/>
                      <a:pt x="254" y="44020"/>
                      <a:pt x="761" y="44495"/>
                    </a:cubicBezTo>
                    <a:lnTo>
                      <a:pt x="1172" y="44052"/>
                    </a:lnTo>
                    <a:cubicBezTo>
                      <a:pt x="792" y="43703"/>
                      <a:pt x="602" y="43323"/>
                      <a:pt x="602" y="42943"/>
                    </a:cubicBezTo>
                    <a:lnTo>
                      <a:pt x="602" y="42912"/>
                    </a:lnTo>
                    <a:lnTo>
                      <a:pt x="1" y="42880"/>
                    </a:lnTo>
                    <a:close/>
                    <a:moveTo>
                      <a:pt x="44369" y="44115"/>
                    </a:moveTo>
                    <a:cubicBezTo>
                      <a:pt x="43862" y="44273"/>
                      <a:pt x="43356" y="44400"/>
                      <a:pt x="42849" y="44527"/>
                    </a:cubicBezTo>
                    <a:lnTo>
                      <a:pt x="42975" y="45129"/>
                    </a:lnTo>
                    <a:cubicBezTo>
                      <a:pt x="43482" y="44970"/>
                      <a:pt x="44021" y="44844"/>
                      <a:pt x="44527" y="44685"/>
                    </a:cubicBezTo>
                    <a:lnTo>
                      <a:pt x="44369" y="44115"/>
                    </a:lnTo>
                    <a:close/>
                    <a:moveTo>
                      <a:pt x="41297" y="44907"/>
                    </a:moveTo>
                    <a:cubicBezTo>
                      <a:pt x="40790" y="45034"/>
                      <a:pt x="40284" y="45160"/>
                      <a:pt x="39777" y="45255"/>
                    </a:cubicBezTo>
                    <a:lnTo>
                      <a:pt x="39904" y="45857"/>
                    </a:lnTo>
                    <a:cubicBezTo>
                      <a:pt x="40410" y="45730"/>
                      <a:pt x="40917" y="45604"/>
                      <a:pt x="41455" y="45509"/>
                    </a:cubicBezTo>
                    <a:lnTo>
                      <a:pt x="41297" y="44907"/>
                    </a:lnTo>
                    <a:close/>
                    <a:moveTo>
                      <a:pt x="2407" y="44875"/>
                    </a:moveTo>
                    <a:lnTo>
                      <a:pt x="2154" y="45414"/>
                    </a:lnTo>
                    <a:cubicBezTo>
                      <a:pt x="2597" y="45604"/>
                      <a:pt x="3104" y="45825"/>
                      <a:pt x="3642" y="46015"/>
                    </a:cubicBezTo>
                    <a:lnTo>
                      <a:pt x="3833" y="45445"/>
                    </a:lnTo>
                    <a:cubicBezTo>
                      <a:pt x="3294" y="45255"/>
                      <a:pt x="2819" y="45065"/>
                      <a:pt x="2407" y="44875"/>
                    </a:cubicBezTo>
                    <a:close/>
                    <a:moveTo>
                      <a:pt x="38225" y="45572"/>
                    </a:moveTo>
                    <a:cubicBezTo>
                      <a:pt x="37718" y="45667"/>
                      <a:pt x="37180" y="45762"/>
                      <a:pt x="36673" y="45857"/>
                    </a:cubicBezTo>
                    <a:lnTo>
                      <a:pt x="36768" y="46427"/>
                    </a:lnTo>
                    <a:cubicBezTo>
                      <a:pt x="37307" y="46364"/>
                      <a:pt x="37813" y="46269"/>
                      <a:pt x="38320" y="46142"/>
                    </a:cubicBezTo>
                    <a:lnTo>
                      <a:pt x="38225" y="45572"/>
                    </a:lnTo>
                    <a:close/>
                    <a:moveTo>
                      <a:pt x="5353" y="45889"/>
                    </a:moveTo>
                    <a:lnTo>
                      <a:pt x="5194" y="46459"/>
                    </a:lnTo>
                    <a:cubicBezTo>
                      <a:pt x="5669" y="46585"/>
                      <a:pt x="6208" y="46712"/>
                      <a:pt x="6746" y="46807"/>
                    </a:cubicBezTo>
                    <a:lnTo>
                      <a:pt x="6873" y="46237"/>
                    </a:lnTo>
                    <a:cubicBezTo>
                      <a:pt x="6334" y="46142"/>
                      <a:pt x="5828" y="46015"/>
                      <a:pt x="5353" y="45889"/>
                    </a:cubicBezTo>
                    <a:close/>
                    <a:moveTo>
                      <a:pt x="35122" y="46110"/>
                    </a:moveTo>
                    <a:cubicBezTo>
                      <a:pt x="34583" y="46205"/>
                      <a:pt x="34076" y="46269"/>
                      <a:pt x="33538" y="46332"/>
                    </a:cubicBezTo>
                    <a:lnTo>
                      <a:pt x="33633" y="46934"/>
                    </a:lnTo>
                    <a:cubicBezTo>
                      <a:pt x="34140" y="46870"/>
                      <a:pt x="34678" y="46775"/>
                      <a:pt x="35217" y="46712"/>
                    </a:cubicBezTo>
                    <a:lnTo>
                      <a:pt x="35122" y="46110"/>
                    </a:lnTo>
                    <a:close/>
                    <a:moveTo>
                      <a:pt x="31986" y="46554"/>
                    </a:moveTo>
                    <a:cubicBezTo>
                      <a:pt x="31448" y="46617"/>
                      <a:pt x="30941" y="46680"/>
                      <a:pt x="30403" y="46712"/>
                    </a:cubicBezTo>
                    <a:lnTo>
                      <a:pt x="30466" y="47314"/>
                    </a:lnTo>
                    <a:cubicBezTo>
                      <a:pt x="31005" y="47250"/>
                      <a:pt x="31511" y="47219"/>
                      <a:pt x="32050" y="47155"/>
                    </a:cubicBezTo>
                    <a:lnTo>
                      <a:pt x="31986" y="46554"/>
                    </a:lnTo>
                    <a:close/>
                    <a:moveTo>
                      <a:pt x="8425" y="46522"/>
                    </a:moveTo>
                    <a:lnTo>
                      <a:pt x="8298" y="47092"/>
                    </a:lnTo>
                    <a:cubicBezTo>
                      <a:pt x="8805" y="47187"/>
                      <a:pt x="9343" y="47250"/>
                      <a:pt x="9881" y="47345"/>
                    </a:cubicBezTo>
                    <a:lnTo>
                      <a:pt x="9976" y="46744"/>
                    </a:lnTo>
                    <a:cubicBezTo>
                      <a:pt x="9438" y="46680"/>
                      <a:pt x="8900" y="46585"/>
                      <a:pt x="8425" y="46522"/>
                    </a:cubicBezTo>
                    <a:close/>
                    <a:moveTo>
                      <a:pt x="28851" y="46870"/>
                    </a:moveTo>
                    <a:cubicBezTo>
                      <a:pt x="28313" y="46934"/>
                      <a:pt x="27806" y="46965"/>
                      <a:pt x="27268" y="46997"/>
                    </a:cubicBezTo>
                    <a:lnTo>
                      <a:pt x="27331" y="47599"/>
                    </a:lnTo>
                    <a:cubicBezTo>
                      <a:pt x="27838" y="47567"/>
                      <a:pt x="28376" y="47535"/>
                      <a:pt x="28914" y="47472"/>
                    </a:cubicBezTo>
                    <a:lnTo>
                      <a:pt x="28851" y="46870"/>
                    </a:lnTo>
                    <a:close/>
                    <a:moveTo>
                      <a:pt x="11528" y="46934"/>
                    </a:moveTo>
                    <a:lnTo>
                      <a:pt x="11465" y="47504"/>
                    </a:lnTo>
                    <a:cubicBezTo>
                      <a:pt x="11971" y="47567"/>
                      <a:pt x="12510" y="47599"/>
                      <a:pt x="13048" y="47662"/>
                    </a:cubicBezTo>
                    <a:lnTo>
                      <a:pt x="13080" y="47060"/>
                    </a:lnTo>
                    <a:cubicBezTo>
                      <a:pt x="12573" y="47029"/>
                      <a:pt x="12035" y="46965"/>
                      <a:pt x="11528" y="46934"/>
                    </a:cubicBezTo>
                    <a:close/>
                    <a:moveTo>
                      <a:pt x="25716" y="47124"/>
                    </a:moveTo>
                    <a:cubicBezTo>
                      <a:pt x="25177" y="47155"/>
                      <a:pt x="24639" y="47187"/>
                      <a:pt x="24132" y="47187"/>
                    </a:cubicBezTo>
                    <a:lnTo>
                      <a:pt x="24164" y="47789"/>
                    </a:lnTo>
                    <a:cubicBezTo>
                      <a:pt x="24671" y="47757"/>
                      <a:pt x="25209" y="47757"/>
                      <a:pt x="25748" y="47694"/>
                    </a:cubicBezTo>
                    <a:lnTo>
                      <a:pt x="25716" y="47124"/>
                    </a:lnTo>
                    <a:close/>
                    <a:moveTo>
                      <a:pt x="14663" y="47155"/>
                    </a:moveTo>
                    <a:lnTo>
                      <a:pt x="14632" y="47757"/>
                    </a:lnTo>
                    <a:cubicBezTo>
                      <a:pt x="15138" y="47789"/>
                      <a:pt x="15677" y="47820"/>
                      <a:pt x="16215" y="47852"/>
                    </a:cubicBezTo>
                    <a:lnTo>
                      <a:pt x="16247" y="47250"/>
                    </a:lnTo>
                    <a:cubicBezTo>
                      <a:pt x="15708" y="47219"/>
                      <a:pt x="15170" y="47187"/>
                      <a:pt x="14663" y="47155"/>
                    </a:cubicBezTo>
                    <a:close/>
                    <a:moveTo>
                      <a:pt x="17830" y="47282"/>
                    </a:moveTo>
                    <a:lnTo>
                      <a:pt x="17799" y="47884"/>
                    </a:lnTo>
                    <a:lnTo>
                      <a:pt x="19382" y="47884"/>
                    </a:lnTo>
                    <a:lnTo>
                      <a:pt x="19382" y="47314"/>
                    </a:lnTo>
                    <a:cubicBezTo>
                      <a:pt x="18875" y="47314"/>
                      <a:pt x="18337" y="47282"/>
                      <a:pt x="17830" y="47282"/>
                    </a:cubicBezTo>
                    <a:close/>
                    <a:moveTo>
                      <a:pt x="22549" y="47250"/>
                    </a:moveTo>
                    <a:cubicBezTo>
                      <a:pt x="22011" y="47282"/>
                      <a:pt x="21504" y="47282"/>
                      <a:pt x="20965" y="47282"/>
                    </a:cubicBezTo>
                    <a:lnTo>
                      <a:pt x="20965" y="47884"/>
                    </a:lnTo>
                    <a:cubicBezTo>
                      <a:pt x="21504" y="47884"/>
                      <a:pt x="22042" y="47852"/>
                      <a:pt x="22549" y="47852"/>
                    </a:cubicBezTo>
                    <a:lnTo>
                      <a:pt x="22549" y="4725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grpSp>
        <p:sp>
          <p:nvSpPr>
            <p:cNvPr id="958" name="Google Shape;958;p27"/>
            <p:cNvSpPr/>
            <p:nvPr/>
          </p:nvSpPr>
          <p:spPr>
            <a:xfrm>
              <a:off x="5291158"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59" name="Google Shape;959;p27"/>
            <p:cNvSpPr/>
            <p:nvPr/>
          </p:nvSpPr>
          <p:spPr>
            <a:xfrm>
              <a:off x="5705796"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0" name="Google Shape;960;p27"/>
            <p:cNvSpPr/>
            <p:nvPr/>
          </p:nvSpPr>
          <p:spPr>
            <a:xfrm>
              <a:off x="5601629"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1" name="Google Shape;961;p27"/>
            <p:cNvSpPr/>
            <p:nvPr/>
          </p:nvSpPr>
          <p:spPr>
            <a:xfrm>
              <a:off x="5808964"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2" name="Google Shape;962;p27"/>
            <p:cNvSpPr/>
            <p:nvPr/>
          </p:nvSpPr>
          <p:spPr>
            <a:xfrm>
              <a:off x="5913131"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3" name="Google Shape;963;p27"/>
            <p:cNvSpPr/>
            <p:nvPr/>
          </p:nvSpPr>
          <p:spPr>
            <a:xfrm>
              <a:off x="5186958"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4" name="Google Shape;964;p27"/>
            <p:cNvSpPr/>
            <p:nvPr/>
          </p:nvSpPr>
          <p:spPr>
            <a:xfrm>
              <a:off x="5083823"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5" name="Google Shape;965;p27"/>
            <p:cNvSpPr/>
            <p:nvPr/>
          </p:nvSpPr>
          <p:spPr>
            <a:xfrm>
              <a:off x="4979655"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6" name="Google Shape;966;p27"/>
            <p:cNvSpPr/>
            <p:nvPr/>
          </p:nvSpPr>
          <p:spPr>
            <a:xfrm>
              <a:off x="5498461" y="4572187"/>
              <a:ext cx="52148" cy="19447"/>
            </a:xfrm>
            <a:custGeom>
              <a:avLst/>
              <a:gdLst/>
              <a:ahLst/>
              <a:cxnLst/>
              <a:rect l="l" t="t" r="r" b="b"/>
              <a:pathLst>
                <a:path w="1617"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7" name="Google Shape;967;p27"/>
            <p:cNvSpPr/>
            <p:nvPr/>
          </p:nvSpPr>
          <p:spPr>
            <a:xfrm>
              <a:off x="5394293" y="4572187"/>
              <a:ext cx="52116" cy="19447"/>
            </a:xfrm>
            <a:custGeom>
              <a:avLst/>
              <a:gdLst/>
              <a:ahLst/>
              <a:cxnLst/>
              <a:rect l="l" t="t" r="r" b="b"/>
              <a:pathLst>
                <a:path w="1616" h="603" extrusionOk="0">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8" name="Google Shape;968;p27"/>
            <p:cNvSpPr/>
            <p:nvPr/>
          </p:nvSpPr>
          <p:spPr>
            <a:xfrm>
              <a:off x="6016299" y="4572187"/>
              <a:ext cx="52116" cy="19447"/>
            </a:xfrm>
            <a:custGeom>
              <a:avLst/>
              <a:gdLst/>
              <a:ahLst/>
              <a:cxnLst/>
              <a:rect l="l" t="t" r="r" b="b"/>
              <a:pathLst>
                <a:path w="1616" h="603" extrusionOk="0">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69" name="Google Shape;969;p27"/>
            <p:cNvSpPr/>
            <p:nvPr/>
          </p:nvSpPr>
          <p:spPr>
            <a:xfrm>
              <a:off x="3175977" y="4572187"/>
              <a:ext cx="1757722" cy="19447"/>
            </a:xfrm>
            <a:custGeom>
              <a:avLst/>
              <a:gdLst/>
              <a:ahLst/>
              <a:cxnLst/>
              <a:rect l="l" t="t" r="r" b="b"/>
              <a:pathLst>
                <a:path w="54503" h="603" extrusionOk="0">
                  <a:moveTo>
                    <a:pt x="0" y="0"/>
                  </a:moveTo>
                  <a:lnTo>
                    <a:pt x="0" y="602"/>
                  </a:lnTo>
                  <a:lnTo>
                    <a:pt x="254" y="602"/>
                  </a:lnTo>
                  <a:lnTo>
                    <a:pt x="254" y="0"/>
                  </a:lnTo>
                  <a:close/>
                  <a:moveTo>
                    <a:pt x="1837" y="0"/>
                  </a:moveTo>
                  <a:lnTo>
                    <a:pt x="1837" y="602"/>
                  </a:lnTo>
                  <a:lnTo>
                    <a:pt x="3452" y="602"/>
                  </a:lnTo>
                  <a:lnTo>
                    <a:pt x="3452" y="0"/>
                  </a:lnTo>
                  <a:close/>
                  <a:moveTo>
                    <a:pt x="5036" y="0"/>
                  </a:moveTo>
                  <a:lnTo>
                    <a:pt x="5036" y="602"/>
                  </a:lnTo>
                  <a:lnTo>
                    <a:pt x="6619" y="602"/>
                  </a:lnTo>
                  <a:lnTo>
                    <a:pt x="6619" y="0"/>
                  </a:lnTo>
                  <a:close/>
                  <a:moveTo>
                    <a:pt x="8234" y="0"/>
                  </a:moveTo>
                  <a:lnTo>
                    <a:pt x="8234" y="602"/>
                  </a:lnTo>
                  <a:lnTo>
                    <a:pt x="9818" y="602"/>
                  </a:lnTo>
                  <a:lnTo>
                    <a:pt x="9818" y="0"/>
                  </a:lnTo>
                  <a:close/>
                  <a:moveTo>
                    <a:pt x="11401" y="0"/>
                  </a:moveTo>
                  <a:lnTo>
                    <a:pt x="11401" y="602"/>
                  </a:lnTo>
                  <a:lnTo>
                    <a:pt x="13016" y="602"/>
                  </a:lnTo>
                  <a:lnTo>
                    <a:pt x="13016" y="0"/>
                  </a:lnTo>
                  <a:close/>
                  <a:moveTo>
                    <a:pt x="14600" y="0"/>
                  </a:moveTo>
                  <a:lnTo>
                    <a:pt x="14600" y="602"/>
                  </a:lnTo>
                  <a:lnTo>
                    <a:pt x="16215" y="602"/>
                  </a:lnTo>
                  <a:lnTo>
                    <a:pt x="16215" y="0"/>
                  </a:lnTo>
                  <a:close/>
                  <a:moveTo>
                    <a:pt x="17798" y="0"/>
                  </a:moveTo>
                  <a:lnTo>
                    <a:pt x="17798" y="602"/>
                  </a:lnTo>
                  <a:lnTo>
                    <a:pt x="19382" y="602"/>
                  </a:lnTo>
                  <a:lnTo>
                    <a:pt x="19382" y="0"/>
                  </a:lnTo>
                  <a:close/>
                  <a:moveTo>
                    <a:pt x="20997" y="0"/>
                  </a:moveTo>
                  <a:lnTo>
                    <a:pt x="20997" y="602"/>
                  </a:lnTo>
                  <a:lnTo>
                    <a:pt x="22581" y="602"/>
                  </a:lnTo>
                  <a:lnTo>
                    <a:pt x="22581" y="0"/>
                  </a:lnTo>
                  <a:close/>
                  <a:moveTo>
                    <a:pt x="24164" y="0"/>
                  </a:moveTo>
                  <a:lnTo>
                    <a:pt x="24164" y="602"/>
                  </a:lnTo>
                  <a:lnTo>
                    <a:pt x="25779" y="602"/>
                  </a:lnTo>
                  <a:lnTo>
                    <a:pt x="25779" y="0"/>
                  </a:lnTo>
                  <a:close/>
                  <a:moveTo>
                    <a:pt x="27363" y="0"/>
                  </a:moveTo>
                  <a:lnTo>
                    <a:pt x="27363" y="602"/>
                  </a:lnTo>
                  <a:lnTo>
                    <a:pt x="28978" y="602"/>
                  </a:lnTo>
                  <a:lnTo>
                    <a:pt x="28978" y="0"/>
                  </a:lnTo>
                  <a:close/>
                  <a:moveTo>
                    <a:pt x="30561" y="0"/>
                  </a:moveTo>
                  <a:lnTo>
                    <a:pt x="30561" y="602"/>
                  </a:lnTo>
                  <a:lnTo>
                    <a:pt x="32145" y="602"/>
                  </a:lnTo>
                  <a:lnTo>
                    <a:pt x="32145" y="0"/>
                  </a:lnTo>
                  <a:close/>
                  <a:moveTo>
                    <a:pt x="33760" y="0"/>
                  </a:moveTo>
                  <a:lnTo>
                    <a:pt x="33760" y="602"/>
                  </a:lnTo>
                  <a:lnTo>
                    <a:pt x="35343" y="602"/>
                  </a:lnTo>
                  <a:lnTo>
                    <a:pt x="35343" y="0"/>
                  </a:lnTo>
                  <a:close/>
                  <a:moveTo>
                    <a:pt x="36927" y="0"/>
                  </a:moveTo>
                  <a:lnTo>
                    <a:pt x="36927" y="602"/>
                  </a:lnTo>
                  <a:lnTo>
                    <a:pt x="38542" y="602"/>
                  </a:lnTo>
                  <a:lnTo>
                    <a:pt x="38542" y="0"/>
                  </a:lnTo>
                  <a:close/>
                  <a:moveTo>
                    <a:pt x="40125" y="0"/>
                  </a:moveTo>
                  <a:lnTo>
                    <a:pt x="40125" y="602"/>
                  </a:lnTo>
                  <a:lnTo>
                    <a:pt x="41740" y="602"/>
                  </a:lnTo>
                  <a:lnTo>
                    <a:pt x="41740" y="0"/>
                  </a:lnTo>
                  <a:close/>
                  <a:moveTo>
                    <a:pt x="43324" y="0"/>
                  </a:moveTo>
                  <a:lnTo>
                    <a:pt x="43324" y="602"/>
                  </a:lnTo>
                  <a:lnTo>
                    <a:pt x="44907" y="602"/>
                  </a:lnTo>
                  <a:lnTo>
                    <a:pt x="44907" y="0"/>
                  </a:lnTo>
                  <a:close/>
                  <a:moveTo>
                    <a:pt x="46522" y="0"/>
                  </a:moveTo>
                  <a:lnTo>
                    <a:pt x="46522" y="602"/>
                  </a:lnTo>
                  <a:lnTo>
                    <a:pt x="48106" y="602"/>
                  </a:lnTo>
                  <a:lnTo>
                    <a:pt x="48106" y="0"/>
                  </a:lnTo>
                  <a:close/>
                  <a:moveTo>
                    <a:pt x="49689" y="0"/>
                  </a:moveTo>
                  <a:lnTo>
                    <a:pt x="49689" y="602"/>
                  </a:lnTo>
                  <a:lnTo>
                    <a:pt x="51304" y="602"/>
                  </a:lnTo>
                  <a:lnTo>
                    <a:pt x="51304" y="0"/>
                  </a:lnTo>
                  <a:close/>
                  <a:moveTo>
                    <a:pt x="52888" y="0"/>
                  </a:moveTo>
                  <a:lnTo>
                    <a:pt x="52888" y="602"/>
                  </a:lnTo>
                  <a:lnTo>
                    <a:pt x="54503" y="602"/>
                  </a:lnTo>
                  <a:lnTo>
                    <a:pt x="5450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grpSp>
      <p:sp>
        <p:nvSpPr>
          <p:cNvPr id="970" name="Google Shape;970;p27"/>
          <p:cNvSpPr/>
          <p:nvPr/>
        </p:nvSpPr>
        <p:spPr>
          <a:xfrm>
            <a:off x="1901048" y="6096252"/>
            <a:ext cx="2343629" cy="25929"/>
          </a:xfrm>
          <a:custGeom>
            <a:avLst/>
            <a:gdLst/>
            <a:ahLst/>
            <a:cxnLst/>
            <a:rect l="l" t="t" r="r" b="b"/>
            <a:pathLst>
              <a:path w="54503" h="603" extrusionOk="0">
                <a:moveTo>
                  <a:pt x="0" y="0"/>
                </a:moveTo>
                <a:lnTo>
                  <a:pt x="0" y="602"/>
                </a:lnTo>
                <a:lnTo>
                  <a:pt x="254" y="602"/>
                </a:lnTo>
                <a:lnTo>
                  <a:pt x="254" y="0"/>
                </a:lnTo>
                <a:close/>
                <a:moveTo>
                  <a:pt x="1837" y="0"/>
                </a:moveTo>
                <a:lnTo>
                  <a:pt x="1837" y="602"/>
                </a:lnTo>
                <a:lnTo>
                  <a:pt x="3452" y="602"/>
                </a:lnTo>
                <a:lnTo>
                  <a:pt x="3452" y="0"/>
                </a:lnTo>
                <a:close/>
                <a:moveTo>
                  <a:pt x="5036" y="0"/>
                </a:moveTo>
                <a:lnTo>
                  <a:pt x="5036" y="602"/>
                </a:lnTo>
                <a:lnTo>
                  <a:pt x="6651" y="602"/>
                </a:lnTo>
                <a:lnTo>
                  <a:pt x="6651" y="0"/>
                </a:lnTo>
                <a:close/>
                <a:moveTo>
                  <a:pt x="8234" y="0"/>
                </a:moveTo>
                <a:lnTo>
                  <a:pt x="8234" y="602"/>
                </a:lnTo>
                <a:lnTo>
                  <a:pt x="9818" y="602"/>
                </a:lnTo>
                <a:lnTo>
                  <a:pt x="9818" y="0"/>
                </a:lnTo>
                <a:close/>
                <a:moveTo>
                  <a:pt x="11433" y="0"/>
                </a:moveTo>
                <a:lnTo>
                  <a:pt x="11433" y="602"/>
                </a:lnTo>
                <a:lnTo>
                  <a:pt x="13016" y="602"/>
                </a:lnTo>
                <a:lnTo>
                  <a:pt x="13016" y="0"/>
                </a:lnTo>
                <a:close/>
                <a:moveTo>
                  <a:pt x="14600" y="0"/>
                </a:moveTo>
                <a:lnTo>
                  <a:pt x="14600" y="602"/>
                </a:lnTo>
                <a:lnTo>
                  <a:pt x="16215" y="602"/>
                </a:lnTo>
                <a:lnTo>
                  <a:pt x="16215" y="0"/>
                </a:lnTo>
                <a:close/>
                <a:moveTo>
                  <a:pt x="17798" y="0"/>
                </a:moveTo>
                <a:lnTo>
                  <a:pt x="17798" y="602"/>
                </a:lnTo>
                <a:lnTo>
                  <a:pt x="19413" y="602"/>
                </a:lnTo>
                <a:lnTo>
                  <a:pt x="19413" y="0"/>
                </a:lnTo>
                <a:close/>
                <a:moveTo>
                  <a:pt x="20997" y="0"/>
                </a:moveTo>
                <a:lnTo>
                  <a:pt x="20997" y="602"/>
                </a:lnTo>
                <a:lnTo>
                  <a:pt x="22580" y="602"/>
                </a:lnTo>
                <a:lnTo>
                  <a:pt x="22580" y="0"/>
                </a:lnTo>
                <a:close/>
                <a:moveTo>
                  <a:pt x="24196" y="0"/>
                </a:moveTo>
                <a:lnTo>
                  <a:pt x="24196" y="602"/>
                </a:lnTo>
                <a:lnTo>
                  <a:pt x="25779" y="602"/>
                </a:lnTo>
                <a:lnTo>
                  <a:pt x="25779" y="0"/>
                </a:lnTo>
                <a:close/>
                <a:moveTo>
                  <a:pt x="27362" y="0"/>
                </a:moveTo>
                <a:lnTo>
                  <a:pt x="27362" y="602"/>
                </a:lnTo>
                <a:lnTo>
                  <a:pt x="28978" y="602"/>
                </a:lnTo>
                <a:lnTo>
                  <a:pt x="28978" y="0"/>
                </a:lnTo>
                <a:close/>
                <a:moveTo>
                  <a:pt x="30561" y="0"/>
                </a:moveTo>
                <a:lnTo>
                  <a:pt x="30561" y="602"/>
                </a:lnTo>
                <a:lnTo>
                  <a:pt x="32176" y="602"/>
                </a:lnTo>
                <a:lnTo>
                  <a:pt x="32176" y="0"/>
                </a:lnTo>
                <a:close/>
                <a:moveTo>
                  <a:pt x="33760" y="0"/>
                </a:moveTo>
                <a:lnTo>
                  <a:pt x="33760" y="602"/>
                </a:lnTo>
                <a:lnTo>
                  <a:pt x="35343" y="602"/>
                </a:lnTo>
                <a:lnTo>
                  <a:pt x="35343" y="0"/>
                </a:lnTo>
                <a:close/>
                <a:moveTo>
                  <a:pt x="36958" y="0"/>
                </a:moveTo>
                <a:lnTo>
                  <a:pt x="36958" y="602"/>
                </a:lnTo>
                <a:lnTo>
                  <a:pt x="38542" y="602"/>
                </a:lnTo>
                <a:lnTo>
                  <a:pt x="38542" y="0"/>
                </a:lnTo>
                <a:close/>
                <a:moveTo>
                  <a:pt x="40125" y="0"/>
                </a:moveTo>
                <a:lnTo>
                  <a:pt x="40125" y="602"/>
                </a:lnTo>
                <a:lnTo>
                  <a:pt x="41740" y="602"/>
                </a:lnTo>
                <a:lnTo>
                  <a:pt x="41740" y="0"/>
                </a:lnTo>
                <a:close/>
                <a:moveTo>
                  <a:pt x="43324" y="0"/>
                </a:moveTo>
                <a:lnTo>
                  <a:pt x="43324" y="602"/>
                </a:lnTo>
                <a:lnTo>
                  <a:pt x="44939" y="602"/>
                </a:lnTo>
                <a:lnTo>
                  <a:pt x="44939" y="0"/>
                </a:lnTo>
                <a:close/>
                <a:moveTo>
                  <a:pt x="46522" y="0"/>
                </a:moveTo>
                <a:lnTo>
                  <a:pt x="46522" y="602"/>
                </a:lnTo>
                <a:lnTo>
                  <a:pt x="48106" y="602"/>
                </a:lnTo>
                <a:lnTo>
                  <a:pt x="48106" y="0"/>
                </a:lnTo>
                <a:close/>
                <a:moveTo>
                  <a:pt x="49721" y="0"/>
                </a:moveTo>
                <a:lnTo>
                  <a:pt x="49721" y="602"/>
                </a:lnTo>
                <a:lnTo>
                  <a:pt x="51304" y="602"/>
                </a:lnTo>
                <a:lnTo>
                  <a:pt x="51304" y="0"/>
                </a:lnTo>
                <a:close/>
                <a:moveTo>
                  <a:pt x="52888" y="0"/>
                </a:moveTo>
                <a:lnTo>
                  <a:pt x="52888" y="602"/>
                </a:lnTo>
                <a:lnTo>
                  <a:pt x="54503" y="602"/>
                </a:lnTo>
                <a:lnTo>
                  <a:pt x="5450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71" name="Google Shape;971;p27"/>
          <p:cNvSpPr/>
          <p:nvPr/>
        </p:nvSpPr>
        <p:spPr>
          <a:xfrm>
            <a:off x="608726" y="6096252"/>
            <a:ext cx="1303244" cy="25929"/>
          </a:xfrm>
          <a:custGeom>
            <a:avLst/>
            <a:gdLst/>
            <a:ahLst/>
            <a:cxnLst/>
            <a:rect l="l" t="t" r="r" b="b"/>
            <a:pathLst>
              <a:path w="30308" h="603" extrusionOk="0">
                <a:moveTo>
                  <a:pt x="0" y="0"/>
                </a:moveTo>
                <a:lnTo>
                  <a:pt x="0" y="602"/>
                </a:lnTo>
                <a:lnTo>
                  <a:pt x="1584" y="602"/>
                </a:lnTo>
                <a:lnTo>
                  <a:pt x="1584" y="0"/>
                </a:lnTo>
                <a:close/>
                <a:moveTo>
                  <a:pt x="3199" y="0"/>
                </a:moveTo>
                <a:lnTo>
                  <a:pt x="3199" y="602"/>
                </a:lnTo>
                <a:lnTo>
                  <a:pt x="4782" y="602"/>
                </a:lnTo>
                <a:lnTo>
                  <a:pt x="4782" y="0"/>
                </a:lnTo>
                <a:close/>
                <a:moveTo>
                  <a:pt x="6366" y="0"/>
                </a:moveTo>
                <a:lnTo>
                  <a:pt x="6366" y="602"/>
                </a:lnTo>
                <a:lnTo>
                  <a:pt x="7981" y="602"/>
                </a:lnTo>
                <a:lnTo>
                  <a:pt x="7981" y="0"/>
                </a:lnTo>
                <a:close/>
                <a:moveTo>
                  <a:pt x="9564" y="0"/>
                </a:moveTo>
                <a:lnTo>
                  <a:pt x="9564" y="602"/>
                </a:lnTo>
                <a:lnTo>
                  <a:pt x="11148" y="602"/>
                </a:lnTo>
                <a:lnTo>
                  <a:pt x="11148" y="0"/>
                </a:lnTo>
                <a:close/>
                <a:moveTo>
                  <a:pt x="12763" y="0"/>
                </a:moveTo>
                <a:lnTo>
                  <a:pt x="12763" y="602"/>
                </a:lnTo>
                <a:lnTo>
                  <a:pt x="14346" y="602"/>
                </a:lnTo>
                <a:lnTo>
                  <a:pt x="14346" y="0"/>
                </a:lnTo>
                <a:close/>
                <a:moveTo>
                  <a:pt x="15962" y="0"/>
                </a:moveTo>
                <a:lnTo>
                  <a:pt x="15962" y="602"/>
                </a:lnTo>
                <a:lnTo>
                  <a:pt x="17545" y="602"/>
                </a:lnTo>
                <a:lnTo>
                  <a:pt x="17545" y="0"/>
                </a:lnTo>
                <a:close/>
                <a:moveTo>
                  <a:pt x="19129" y="0"/>
                </a:moveTo>
                <a:lnTo>
                  <a:pt x="19129" y="602"/>
                </a:lnTo>
                <a:lnTo>
                  <a:pt x="20744" y="602"/>
                </a:lnTo>
                <a:lnTo>
                  <a:pt x="20744" y="0"/>
                </a:lnTo>
                <a:close/>
                <a:moveTo>
                  <a:pt x="22327" y="0"/>
                </a:moveTo>
                <a:lnTo>
                  <a:pt x="22327" y="602"/>
                </a:lnTo>
                <a:lnTo>
                  <a:pt x="23911" y="602"/>
                </a:lnTo>
                <a:lnTo>
                  <a:pt x="23911" y="0"/>
                </a:lnTo>
                <a:close/>
                <a:moveTo>
                  <a:pt x="25526" y="0"/>
                </a:moveTo>
                <a:lnTo>
                  <a:pt x="25526" y="602"/>
                </a:lnTo>
                <a:lnTo>
                  <a:pt x="27109" y="602"/>
                </a:lnTo>
                <a:lnTo>
                  <a:pt x="27109" y="0"/>
                </a:lnTo>
                <a:close/>
                <a:moveTo>
                  <a:pt x="28724" y="0"/>
                </a:moveTo>
                <a:lnTo>
                  <a:pt x="28724" y="602"/>
                </a:lnTo>
                <a:lnTo>
                  <a:pt x="30308" y="602"/>
                </a:lnTo>
                <a:lnTo>
                  <a:pt x="30308"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972" name="Google Shape;972;p27"/>
          <p:cNvSpPr/>
          <p:nvPr/>
        </p:nvSpPr>
        <p:spPr>
          <a:xfrm>
            <a:off x="1714933" y="1799867"/>
            <a:ext cx="821137" cy="822599"/>
          </a:xfrm>
          <a:custGeom>
            <a:avLst/>
            <a:gdLst/>
            <a:ahLst/>
            <a:cxnLst/>
            <a:rect l="l" t="t" r="r" b="b"/>
            <a:pathLst>
              <a:path w="17989" h="18021" extrusionOk="0">
                <a:moveTo>
                  <a:pt x="8994" y="1"/>
                </a:moveTo>
                <a:cubicBezTo>
                  <a:pt x="4022" y="1"/>
                  <a:pt x="0" y="4023"/>
                  <a:pt x="0" y="8995"/>
                </a:cubicBezTo>
                <a:cubicBezTo>
                  <a:pt x="0" y="13967"/>
                  <a:pt x="4022" y="18021"/>
                  <a:pt x="8994" y="18021"/>
                </a:cubicBezTo>
                <a:cubicBezTo>
                  <a:pt x="13966" y="18021"/>
                  <a:pt x="17988" y="13967"/>
                  <a:pt x="17988" y="8995"/>
                </a:cubicBezTo>
                <a:cubicBezTo>
                  <a:pt x="17988" y="4023"/>
                  <a:pt x="13966" y="1"/>
                  <a:pt x="8994"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srgbClr val="A43975"/>
              </a:solidFill>
              <a:cs typeface="+mn-ea"/>
              <a:sym typeface="+mn-lt"/>
            </a:endParaRPr>
          </a:p>
        </p:txBody>
      </p:sp>
      <p:sp>
        <p:nvSpPr>
          <p:cNvPr id="973" name="Google Shape;973;p27"/>
          <p:cNvSpPr/>
          <p:nvPr/>
        </p:nvSpPr>
        <p:spPr>
          <a:xfrm>
            <a:off x="1805996" y="1890976"/>
            <a:ext cx="639008" cy="638963"/>
          </a:xfrm>
          <a:custGeom>
            <a:avLst/>
            <a:gdLst/>
            <a:ahLst/>
            <a:cxnLst/>
            <a:rect l="l" t="t" r="r" b="b"/>
            <a:pathLst>
              <a:path w="13999" h="13998" extrusionOk="0">
                <a:moveTo>
                  <a:pt x="6999" y="0"/>
                </a:moveTo>
                <a:cubicBezTo>
                  <a:pt x="3136" y="0"/>
                  <a:pt x="0" y="3135"/>
                  <a:pt x="0" y="6999"/>
                </a:cubicBezTo>
                <a:cubicBezTo>
                  <a:pt x="0" y="10863"/>
                  <a:pt x="3136" y="13998"/>
                  <a:pt x="6999" y="13998"/>
                </a:cubicBezTo>
                <a:cubicBezTo>
                  <a:pt x="10863" y="13998"/>
                  <a:pt x="13998" y="10863"/>
                  <a:pt x="13998" y="6999"/>
                </a:cubicBezTo>
                <a:cubicBezTo>
                  <a:pt x="13998" y="3135"/>
                  <a:pt x="10863" y="0"/>
                  <a:pt x="6999" y="0"/>
                </a:cubicBezTo>
                <a:close/>
              </a:path>
            </a:pathLst>
          </a:custGeom>
          <a:solidFill>
            <a:srgbClr val="FFFFFF"/>
          </a:solidFill>
          <a:ln>
            <a:noFill/>
          </a:ln>
        </p:spPr>
        <p:txBody>
          <a:bodyPr spcFirstLastPara="1" wrap="square" lIns="121900" tIns="121900" rIns="121900" bIns="121900" anchor="ctr" anchorCtr="0">
            <a:noAutofit/>
          </a:bodyPr>
          <a:lstStyle/>
          <a:p>
            <a:pPr algn="ctr" defTabSz="1219170">
              <a:buClr>
                <a:srgbClr val="000000"/>
              </a:buClr>
            </a:pPr>
            <a:r>
              <a:rPr lang="en" sz="2533" kern="0">
                <a:solidFill>
                  <a:srgbClr val="A43975"/>
                </a:solidFill>
                <a:cs typeface="+mn-ea"/>
                <a:sym typeface="+mn-lt"/>
              </a:rPr>
              <a:t>1</a:t>
            </a:r>
            <a:endParaRPr sz="2533" kern="0">
              <a:solidFill>
                <a:srgbClr val="A43975"/>
              </a:solidFill>
              <a:cs typeface="+mn-ea"/>
              <a:sym typeface="+mn-lt"/>
            </a:endParaRPr>
          </a:p>
        </p:txBody>
      </p:sp>
      <p:sp>
        <p:nvSpPr>
          <p:cNvPr id="974" name="Google Shape;974;p27"/>
          <p:cNvSpPr/>
          <p:nvPr/>
        </p:nvSpPr>
        <p:spPr>
          <a:xfrm>
            <a:off x="1714933" y="3950858"/>
            <a:ext cx="821137" cy="822553"/>
          </a:xfrm>
          <a:custGeom>
            <a:avLst/>
            <a:gdLst/>
            <a:ahLst/>
            <a:cxnLst/>
            <a:rect l="l" t="t" r="r" b="b"/>
            <a:pathLst>
              <a:path w="17989" h="18020" extrusionOk="0">
                <a:moveTo>
                  <a:pt x="8994" y="0"/>
                </a:moveTo>
                <a:cubicBezTo>
                  <a:pt x="4022" y="0"/>
                  <a:pt x="0" y="4022"/>
                  <a:pt x="0" y="8994"/>
                </a:cubicBezTo>
                <a:cubicBezTo>
                  <a:pt x="0" y="13966"/>
                  <a:pt x="4022" y="18020"/>
                  <a:pt x="8994" y="18020"/>
                </a:cubicBezTo>
                <a:cubicBezTo>
                  <a:pt x="13966" y="18020"/>
                  <a:pt x="17988" y="13966"/>
                  <a:pt x="17988" y="8994"/>
                </a:cubicBezTo>
                <a:cubicBezTo>
                  <a:pt x="17988" y="4022"/>
                  <a:pt x="13966" y="0"/>
                  <a:pt x="8994"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srgbClr val="A43975"/>
              </a:solidFill>
              <a:cs typeface="+mn-ea"/>
              <a:sym typeface="+mn-lt"/>
            </a:endParaRPr>
          </a:p>
        </p:txBody>
      </p:sp>
      <p:sp>
        <p:nvSpPr>
          <p:cNvPr id="975" name="Google Shape;975;p27"/>
          <p:cNvSpPr/>
          <p:nvPr/>
        </p:nvSpPr>
        <p:spPr>
          <a:xfrm>
            <a:off x="1805996" y="4043381"/>
            <a:ext cx="639008" cy="637547"/>
          </a:xfrm>
          <a:custGeom>
            <a:avLst/>
            <a:gdLst/>
            <a:ahLst/>
            <a:cxnLst/>
            <a:rect l="l" t="t" r="r" b="b"/>
            <a:pathLst>
              <a:path w="13999" h="13967" extrusionOk="0">
                <a:moveTo>
                  <a:pt x="6999" y="0"/>
                </a:moveTo>
                <a:cubicBezTo>
                  <a:pt x="3136" y="0"/>
                  <a:pt x="0" y="3104"/>
                  <a:pt x="0" y="6967"/>
                </a:cubicBezTo>
                <a:cubicBezTo>
                  <a:pt x="0" y="10831"/>
                  <a:pt x="3136" y="13966"/>
                  <a:pt x="6999" y="13966"/>
                </a:cubicBezTo>
                <a:cubicBezTo>
                  <a:pt x="10863" y="13966"/>
                  <a:pt x="13998" y="10831"/>
                  <a:pt x="13998" y="6967"/>
                </a:cubicBezTo>
                <a:cubicBezTo>
                  <a:pt x="13998" y="3104"/>
                  <a:pt x="10863" y="0"/>
                  <a:pt x="6999" y="0"/>
                </a:cubicBezTo>
                <a:close/>
              </a:path>
            </a:pathLst>
          </a:custGeom>
          <a:solidFill>
            <a:srgbClr val="FFFFFF"/>
          </a:solidFill>
          <a:ln>
            <a:noFill/>
          </a:ln>
        </p:spPr>
        <p:txBody>
          <a:bodyPr spcFirstLastPara="1" wrap="square" lIns="121900" tIns="121900" rIns="121900" bIns="121900" anchor="ctr" anchorCtr="0">
            <a:noAutofit/>
          </a:bodyPr>
          <a:lstStyle/>
          <a:p>
            <a:pPr algn="ctr" defTabSz="1219170">
              <a:buClr>
                <a:srgbClr val="000000"/>
              </a:buClr>
            </a:pPr>
            <a:r>
              <a:rPr lang="en" sz="2533" kern="0">
                <a:solidFill>
                  <a:srgbClr val="A43975"/>
                </a:solidFill>
                <a:cs typeface="+mn-ea"/>
                <a:sym typeface="+mn-lt"/>
              </a:rPr>
              <a:t>2</a:t>
            </a:r>
            <a:endParaRPr sz="2533" kern="0">
              <a:solidFill>
                <a:srgbClr val="A43975"/>
              </a:solidFill>
              <a:cs typeface="+mn-ea"/>
              <a:sym typeface="+mn-lt"/>
            </a:endParaRPr>
          </a:p>
        </p:txBody>
      </p:sp>
      <p:sp>
        <p:nvSpPr>
          <p:cNvPr id="976" name="Google Shape;976;p27"/>
          <p:cNvSpPr/>
          <p:nvPr/>
        </p:nvSpPr>
        <p:spPr>
          <a:xfrm>
            <a:off x="5128678" y="1785519"/>
            <a:ext cx="821137" cy="822599"/>
          </a:xfrm>
          <a:custGeom>
            <a:avLst/>
            <a:gdLst/>
            <a:ahLst/>
            <a:cxnLst/>
            <a:rect l="l" t="t" r="r" b="b"/>
            <a:pathLst>
              <a:path w="17989" h="18021" extrusionOk="0">
                <a:moveTo>
                  <a:pt x="8995" y="1"/>
                </a:moveTo>
                <a:cubicBezTo>
                  <a:pt x="4023" y="1"/>
                  <a:pt x="1" y="4023"/>
                  <a:pt x="1" y="8995"/>
                </a:cubicBezTo>
                <a:cubicBezTo>
                  <a:pt x="1" y="13967"/>
                  <a:pt x="4023" y="18021"/>
                  <a:pt x="8995" y="18021"/>
                </a:cubicBezTo>
                <a:cubicBezTo>
                  <a:pt x="13967" y="18021"/>
                  <a:pt x="17989" y="13967"/>
                  <a:pt x="17989" y="8995"/>
                </a:cubicBezTo>
                <a:cubicBezTo>
                  <a:pt x="17989" y="4023"/>
                  <a:pt x="13967" y="1"/>
                  <a:pt x="8995"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srgbClr val="A43975"/>
              </a:solidFill>
              <a:cs typeface="+mn-ea"/>
              <a:sym typeface="+mn-lt"/>
            </a:endParaRPr>
          </a:p>
        </p:txBody>
      </p:sp>
      <p:sp>
        <p:nvSpPr>
          <p:cNvPr id="977" name="Google Shape;977;p27"/>
          <p:cNvSpPr/>
          <p:nvPr/>
        </p:nvSpPr>
        <p:spPr>
          <a:xfrm>
            <a:off x="5219741" y="1876625"/>
            <a:ext cx="639008" cy="638963"/>
          </a:xfrm>
          <a:custGeom>
            <a:avLst/>
            <a:gdLst/>
            <a:ahLst/>
            <a:cxnLst/>
            <a:rect l="l" t="t" r="r" b="b"/>
            <a:pathLst>
              <a:path w="13999" h="13998" extrusionOk="0">
                <a:moveTo>
                  <a:pt x="7000" y="0"/>
                </a:moveTo>
                <a:cubicBezTo>
                  <a:pt x="3136" y="0"/>
                  <a:pt x="1" y="3135"/>
                  <a:pt x="1" y="6999"/>
                </a:cubicBezTo>
                <a:cubicBezTo>
                  <a:pt x="1" y="10863"/>
                  <a:pt x="3136" y="13998"/>
                  <a:pt x="7000" y="13998"/>
                </a:cubicBezTo>
                <a:cubicBezTo>
                  <a:pt x="10863" y="13998"/>
                  <a:pt x="13999" y="10863"/>
                  <a:pt x="13999" y="6999"/>
                </a:cubicBezTo>
                <a:cubicBezTo>
                  <a:pt x="13999" y="3135"/>
                  <a:pt x="10863" y="0"/>
                  <a:pt x="7000" y="0"/>
                </a:cubicBezTo>
                <a:close/>
              </a:path>
            </a:pathLst>
          </a:custGeom>
          <a:solidFill>
            <a:srgbClr val="FFFFFF"/>
          </a:solidFill>
          <a:ln>
            <a:noFill/>
          </a:ln>
        </p:spPr>
        <p:txBody>
          <a:bodyPr spcFirstLastPara="1" wrap="square" lIns="121900" tIns="121900" rIns="121900" bIns="121900" anchor="ctr" anchorCtr="0">
            <a:noAutofit/>
          </a:bodyPr>
          <a:lstStyle/>
          <a:p>
            <a:pPr algn="ctr" defTabSz="1219170">
              <a:buClr>
                <a:srgbClr val="000000"/>
              </a:buClr>
            </a:pPr>
            <a:r>
              <a:rPr lang="en" sz="2533" kern="0">
                <a:solidFill>
                  <a:srgbClr val="A43975"/>
                </a:solidFill>
                <a:cs typeface="+mn-ea"/>
                <a:sym typeface="+mn-lt"/>
              </a:rPr>
              <a:t>3</a:t>
            </a:r>
            <a:endParaRPr sz="2533" kern="0">
              <a:solidFill>
                <a:srgbClr val="A43975"/>
              </a:solidFill>
              <a:cs typeface="+mn-ea"/>
              <a:sym typeface="+mn-lt"/>
            </a:endParaRPr>
          </a:p>
        </p:txBody>
      </p:sp>
      <p:sp>
        <p:nvSpPr>
          <p:cNvPr id="978" name="Google Shape;978;p27"/>
          <p:cNvSpPr/>
          <p:nvPr/>
        </p:nvSpPr>
        <p:spPr>
          <a:xfrm>
            <a:off x="5128678" y="3936509"/>
            <a:ext cx="821137" cy="822553"/>
          </a:xfrm>
          <a:custGeom>
            <a:avLst/>
            <a:gdLst/>
            <a:ahLst/>
            <a:cxnLst/>
            <a:rect l="l" t="t" r="r" b="b"/>
            <a:pathLst>
              <a:path w="17989" h="18020" extrusionOk="0">
                <a:moveTo>
                  <a:pt x="8995" y="0"/>
                </a:moveTo>
                <a:cubicBezTo>
                  <a:pt x="4023" y="0"/>
                  <a:pt x="1" y="4022"/>
                  <a:pt x="1" y="8994"/>
                </a:cubicBezTo>
                <a:cubicBezTo>
                  <a:pt x="1" y="13966"/>
                  <a:pt x="4023" y="18020"/>
                  <a:pt x="8995" y="18020"/>
                </a:cubicBezTo>
                <a:cubicBezTo>
                  <a:pt x="13967" y="18020"/>
                  <a:pt x="17989" y="13966"/>
                  <a:pt x="17989" y="8994"/>
                </a:cubicBezTo>
                <a:cubicBezTo>
                  <a:pt x="17989" y="4022"/>
                  <a:pt x="13967" y="0"/>
                  <a:pt x="899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srgbClr val="A43975"/>
              </a:solidFill>
              <a:cs typeface="+mn-ea"/>
              <a:sym typeface="+mn-lt"/>
            </a:endParaRPr>
          </a:p>
        </p:txBody>
      </p:sp>
      <p:sp>
        <p:nvSpPr>
          <p:cNvPr id="979" name="Google Shape;979;p27"/>
          <p:cNvSpPr/>
          <p:nvPr/>
        </p:nvSpPr>
        <p:spPr>
          <a:xfrm>
            <a:off x="5219741" y="4029032"/>
            <a:ext cx="639008" cy="637547"/>
          </a:xfrm>
          <a:custGeom>
            <a:avLst/>
            <a:gdLst/>
            <a:ahLst/>
            <a:cxnLst/>
            <a:rect l="l" t="t" r="r" b="b"/>
            <a:pathLst>
              <a:path w="13999" h="13967" extrusionOk="0">
                <a:moveTo>
                  <a:pt x="7000" y="0"/>
                </a:moveTo>
                <a:cubicBezTo>
                  <a:pt x="3136" y="0"/>
                  <a:pt x="1" y="3104"/>
                  <a:pt x="1" y="6967"/>
                </a:cubicBezTo>
                <a:cubicBezTo>
                  <a:pt x="1" y="10831"/>
                  <a:pt x="3136" y="13966"/>
                  <a:pt x="7000" y="13966"/>
                </a:cubicBezTo>
                <a:cubicBezTo>
                  <a:pt x="10863" y="13966"/>
                  <a:pt x="13999" y="10831"/>
                  <a:pt x="13999" y="6967"/>
                </a:cubicBezTo>
                <a:cubicBezTo>
                  <a:pt x="13999" y="3104"/>
                  <a:pt x="10863" y="0"/>
                  <a:pt x="7000" y="0"/>
                </a:cubicBezTo>
                <a:close/>
              </a:path>
            </a:pathLst>
          </a:custGeom>
          <a:solidFill>
            <a:srgbClr val="FFFFFF"/>
          </a:solidFill>
          <a:ln>
            <a:noFill/>
          </a:ln>
        </p:spPr>
        <p:txBody>
          <a:bodyPr spcFirstLastPara="1" wrap="square" lIns="121900" tIns="121900" rIns="121900" bIns="121900" anchor="ctr" anchorCtr="0">
            <a:noAutofit/>
          </a:bodyPr>
          <a:lstStyle/>
          <a:p>
            <a:pPr algn="ctr" defTabSz="1219170">
              <a:buClr>
                <a:srgbClr val="000000"/>
              </a:buClr>
            </a:pPr>
            <a:r>
              <a:rPr lang="en" sz="2533" kern="0">
                <a:solidFill>
                  <a:srgbClr val="A43975"/>
                </a:solidFill>
                <a:cs typeface="+mn-ea"/>
                <a:sym typeface="+mn-lt"/>
              </a:rPr>
              <a:t>4</a:t>
            </a:r>
            <a:endParaRPr sz="2533" kern="0">
              <a:solidFill>
                <a:srgbClr val="A43975"/>
              </a:solidFill>
              <a:cs typeface="+mn-ea"/>
              <a:sym typeface="+mn-lt"/>
            </a:endParaRPr>
          </a:p>
        </p:txBody>
      </p:sp>
      <p:sp>
        <p:nvSpPr>
          <p:cNvPr id="163" name="Synergistically utilize technically sound portals with frictionless chains. Dramatically customize…">
            <a:extLst>
              <a:ext uri="{FF2B5EF4-FFF2-40B4-BE49-F238E27FC236}">
                <a16:creationId xmlns:a16="http://schemas.microsoft.com/office/drawing/2014/main" id="{05C8AA4C-D495-450F-8CD4-2F92A3293683}"/>
              </a:ext>
            </a:extLst>
          </p:cNvPr>
          <p:cNvSpPr txBox="1"/>
          <p:nvPr/>
        </p:nvSpPr>
        <p:spPr>
          <a:xfrm>
            <a:off x="2708310" y="1863718"/>
            <a:ext cx="2191018" cy="570221"/>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加强组织领导</a:t>
            </a:r>
            <a:endParaRPr lang="en-US" altLang="zh-CN" sz="2800" b="1" dirty="0">
              <a:sym typeface="+mn-lt"/>
            </a:endParaRPr>
          </a:p>
        </p:txBody>
      </p:sp>
      <p:sp>
        <p:nvSpPr>
          <p:cNvPr id="164" name="Synergistically utilize technically sound portals with frictionless chains. Dramatically customize…">
            <a:extLst>
              <a:ext uri="{FF2B5EF4-FFF2-40B4-BE49-F238E27FC236}">
                <a16:creationId xmlns:a16="http://schemas.microsoft.com/office/drawing/2014/main" id="{C45524DC-79D4-4D97-9FB2-8A54EEF3C40A}"/>
              </a:ext>
            </a:extLst>
          </p:cNvPr>
          <p:cNvSpPr txBox="1"/>
          <p:nvPr/>
        </p:nvSpPr>
        <p:spPr>
          <a:xfrm>
            <a:off x="2697825" y="3988463"/>
            <a:ext cx="2268975" cy="570221"/>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r>
              <a:rPr lang="zh-CN" altLang="en-US" dirty="0">
                <a:sym typeface="+mn-lt"/>
              </a:rPr>
              <a:t>压实主体责任</a:t>
            </a:r>
            <a:endParaRPr lang="en-US" altLang="zh-CN" dirty="0">
              <a:sym typeface="+mn-lt"/>
            </a:endParaRPr>
          </a:p>
        </p:txBody>
      </p:sp>
      <p:sp>
        <p:nvSpPr>
          <p:cNvPr id="165" name="Synergistically utilize technically sound portals with frictionless chains. Dramatically customize…">
            <a:extLst>
              <a:ext uri="{FF2B5EF4-FFF2-40B4-BE49-F238E27FC236}">
                <a16:creationId xmlns:a16="http://schemas.microsoft.com/office/drawing/2014/main" id="{D211BFBC-AD8C-432B-8E66-6FE7E61569F2}"/>
              </a:ext>
            </a:extLst>
          </p:cNvPr>
          <p:cNvSpPr txBox="1"/>
          <p:nvPr/>
        </p:nvSpPr>
        <p:spPr>
          <a:xfrm>
            <a:off x="6122769" y="1861056"/>
            <a:ext cx="2348162" cy="570221"/>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r>
              <a:rPr lang="zh-CN" altLang="en-US" dirty="0">
                <a:sym typeface="+mn-lt"/>
              </a:rPr>
              <a:t>全程跟踪指导</a:t>
            </a:r>
            <a:endParaRPr lang="en-US" altLang="zh-CN" dirty="0">
              <a:sym typeface="+mn-lt"/>
            </a:endParaRPr>
          </a:p>
        </p:txBody>
      </p:sp>
      <p:sp>
        <p:nvSpPr>
          <p:cNvPr id="166" name="Synergistically utilize technically sound portals with frictionless chains. Dramatically customize…">
            <a:extLst>
              <a:ext uri="{FF2B5EF4-FFF2-40B4-BE49-F238E27FC236}">
                <a16:creationId xmlns:a16="http://schemas.microsoft.com/office/drawing/2014/main" id="{6958E1E2-58D2-48AA-A62F-903B4C6F2BC7}"/>
              </a:ext>
            </a:extLst>
          </p:cNvPr>
          <p:cNvSpPr txBox="1"/>
          <p:nvPr/>
        </p:nvSpPr>
        <p:spPr>
          <a:xfrm>
            <a:off x="6223509" y="3988462"/>
            <a:ext cx="2221397" cy="570221"/>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r>
              <a:rPr lang="zh-CN" altLang="en-US" dirty="0">
                <a:sym typeface="+mn-lt"/>
              </a:rPr>
              <a:t>强化督导推动</a:t>
            </a:r>
            <a:endParaRPr lang="en-US" altLang="zh-CN" dirty="0">
              <a:sym typeface="+mn-lt"/>
            </a:endParaRPr>
          </a:p>
        </p:txBody>
      </p:sp>
      <p:sp>
        <p:nvSpPr>
          <p:cNvPr id="167" name="Google Shape;1496;p40">
            <a:extLst>
              <a:ext uri="{FF2B5EF4-FFF2-40B4-BE49-F238E27FC236}">
                <a16:creationId xmlns:a16="http://schemas.microsoft.com/office/drawing/2014/main" id="{71E142D2-59E6-4F66-A75E-CD5B6C84B2CA}"/>
              </a:ext>
            </a:extLst>
          </p:cNvPr>
          <p:cNvSpPr txBox="1"/>
          <p:nvPr/>
        </p:nvSpPr>
        <p:spPr>
          <a:xfrm>
            <a:off x="484939" y="402183"/>
            <a:ext cx="2857200" cy="496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 dirty="0">
                <a:latin typeface="+mn-lt"/>
                <a:cs typeface="+mn-ea"/>
                <a:sym typeface="+mn-lt"/>
              </a:rPr>
              <a:t> </a:t>
            </a:r>
            <a:endParaRPr dirty="0">
              <a:latin typeface="+mn-lt"/>
              <a:cs typeface="+mn-ea"/>
              <a:sym typeface="+mn-lt"/>
            </a:endParaRPr>
          </a:p>
        </p:txBody>
      </p:sp>
      <p:sp>
        <p:nvSpPr>
          <p:cNvPr id="168" name="文本框 167">
            <a:extLst>
              <a:ext uri="{FF2B5EF4-FFF2-40B4-BE49-F238E27FC236}">
                <a16:creationId xmlns:a16="http://schemas.microsoft.com/office/drawing/2014/main" id="{2F045F00-FB58-411A-BDA7-DF0EC6D3E66B}"/>
              </a:ext>
            </a:extLst>
          </p:cNvPr>
          <p:cNvSpPr txBox="1"/>
          <p:nvPr/>
        </p:nvSpPr>
        <p:spPr>
          <a:xfrm>
            <a:off x="787820" y="450328"/>
            <a:ext cx="2226455" cy="400110"/>
          </a:xfrm>
          <a:prstGeom prst="rect">
            <a:avLst/>
          </a:prstGeom>
          <a:noFill/>
        </p:spPr>
        <p:txBody>
          <a:bodyPr wrap="square" rtlCol="0">
            <a:spAutoFit/>
          </a:bodyPr>
          <a:lstStyle/>
          <a:p>
            <a:pPr algn="dist"/>
            <a:r>
              <a:rPr lang="zh-CN" altLang="en-US" sz="2000" b="1" dirty="0">
                <a:solidFill>
                  <a:schemeClr val="bg1"/>
                </a:solidFill>
                <a:cs typeface="+mn-ea"/>
                <a:sym typeface="+mn-lt"/>
              </a:rPr>
              <a:t>工作措施</a:t>
            </a:r>
            <a:endParaRPr lang="zh-CN" altLang="en-US" sz="2000" dirty="0">
              <a:solidFill>
                <a:schemeClr val="bg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4"/>
                                        </p:tgtEl>
                                        <p:attrNameLst>
                                          <p:attrName>style.visibility</p:attrName>
                                        </p:attrNameLst>
                                      </p:cBhvr>
                                      <p:to>
                                        <p:strVal val="visible"/>
                                      </p:to>
                                    </p:set>
                                    <p:animEffect transition="in" filter="fade">
                                      <p:cBhvr>
                                        <p:cTn id="11" dur="500"/>
                                        <p:tgtEl>
                                          <p:spTgt spid="16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5"/>
                                        </p:tgtEl>
                                        <p:attrNameLst>
                                          <p:attrName>style.visibility</p:attrName>
                                        </p:attrNameLst>
                                      </p:cBhvr>
                                      <p:to>
                                        <p:strVal val="visible"/>
                                      </p:to>
                                    </p:set>
                                    <p:animEffect transition="in" filter="fade">
                                      <p:cBhvr>
                                        <p:cTn id="15" dur="500"/>
                                        <p:tgtEl>
                                          <p:spTgt spid="16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6"/>
                                        </p:tgtEl>
                                        <p:attrNameLst>
                                          <p:attrName>style.visibility</p:attrName>
                                        </p:attrNameLst>
                                      </p:cBhvr>
                                      <p:to>
                                        <p:strVal val="visible"/>
                                      </p:to>
                                    </p:set>
                                    <p:animEffect transition="in" filter="fade">
                                      <p:cBhvr>
                                        <p:cTn id="19"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1"/>
      <p:bldP spid="164" grpId="0" animBg="1"/>
      <p:bldP spid="165" grpId="0" animBg="1"/>
      <p:bldP spid="16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C6DFCF26-0729-4193-8D0D-DFD5608448C5}"/>
              </a:ext>
            </a:extLst>
          </p:cNvPr>
          <p:cNvSpPr/>
          <p:nvPr/>
        </p:nvSpPr>
        <p:spPr>
          <a:xfrm>
            <a:off x="8201" y="0"/>
            <a:ext cx="121838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295"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82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blipFill>
            <a:blip r:embed="rId7"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 name="Rectangle 6">
            <a:extLst>
              <a:ext uri="{FF2B5EF4-FFF2-40B4-BE49-F238E27FC236}">
                <a16:creationId xmlns:a16="http://schemas.microsoft.com/office/drawing/2014/main" id="{8561389A-7A84-48B4-A2FB-476D9CDA872E}"/>
              </a:ext>
            </a:extLst>
          </p:cNvPr>
          <p:cNvSpPr/>
          <p:nvPr/>
        </p:nvSpPr>
        <p:spPr>
          <a:xfrm>
            <a:off x="1"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7" name="Rectangle 36">
            <a:extLst>
              <a:ext uri="{FF2B5EF4-FFF2-40B4-BE49-F238E27FC236}">
                <a16:creationId xmlns:a16="http://schemas.microsoft.com/office/drawing/2014/main" id="{315CBA77-EC7F-4B18-98D5-C1EA7972AC80}"/>
              </a:ext>
            </a:extLst>
          </p:cNvPr>
          <p:cNvSpPr/>
          <p:nvPr/>
        </p:nvSpPr>
        <p:spPr>
          <a:xfrm>
            <a:off x="3827844" y="2209478"/>
            <a:ext cx="7658099" cy="1987026"/>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grpSp>
        <p:nvGrpSpPr>
          <p:cNvPr id="29" name="组合 28">
            <a:extLst>
              <a:ext uri="{FF2B5EF4-FFF2-40B4-BE49-F238E27FC236}">
                <a16:creationId xmlns:a16="http://schemas.microsoft.com/office/drawing/2014/main" id="{9F2AFD44-D044-48F2-A42D-6C8AF6C49875}"/>
              </a:ext>
            </a:extLst>
          </p:cNvPr>
          <p:cNvGrpSpPr/>
          <p:nvPr/>
        </p:nvGrpSpPr>
        <p:grpSpPr>
          <a:xfrm rot="5400000">
            <a:off x="1311770" y="767259"/>
            <a:ext cx="101370" cy="1330760"/>
            <a:chOff x="508216" y="2820579"/>
            <a:chExt cx="196770" cy="2583143"/>
          </a:xfrm>
          <a:solidFill>
            <a:schemeClr val="bg1"/>
          </a:solidFill>
        </p:grpSpPr>
        <p:sp>
          <p:nvSpPr>
            <p:cNvPr id="30" name="椭圆 29">
              <a:extLst>
                <a:ext uri="{FF2B5EF4-FFF2-40B4-BE49-F238E27FC236}">
                  <a16:creationId xmlns:a16="http://schemas.microsoft.com/office/drawing/2014/main" id="{E4FB7A4E-4FF5-4353-80A0-8E4772FBCC9F}"/>
                </a:ext>
              </a:extLst>
            </p:cNvPr>
            <p:cNvSpPr/>
            <p:nvPr/>
          </p:nvSpPr>
          <p:spPr>
            <a:xfrm>
              <a:off x="508217" y="2820579"/>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1" name="直接连接符 30">
              <a:extLst>
                <a:ext uri="{FF2B5EF4-FFF2-40B4-BE49-F238E27FC236}">
                  <a16:creationId xmlns:a16="http://schemas.microsoft.com/office/drawing/2014/main" id="{53B363B4-0700-4352-9753-7A0B12AF7158}"/>
                </a:ext>
              </a:extLst>
            </p:cNvPr>
            <p:cNvCxnSpPr/>
            <p:nvPr/>
          </p:nvCxnSpPr>
          <p:spPr>
            <a:xfrm>
              <a:off x="606601" y="3222594"/>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椭圆 31">
              <a:extLst>
                <a:ext uri="{FF2B5EF4-FFF2-40B4-BE49-F238E27FC236}">
                  <a16:creationId xmlns:a16="http://schemas.microsoft.com/office/drawing/2014/main" id="{9520FC3F-F125-4820-B45B-02DE79F8AE01}"/>
                </a:ext>
              </a:extLst>
            </p:cNvPr>
            <p:cNvSpPr/>
            <p:nvPr/>
          </p:nvSpPr>
          <p:spPr>
            <a:xfrm>
              <a:off x="508216" y="4013766"/>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6" name="直接连接符 35">
              <a:extLst>
                <a:ext uri="{FF2B5EF4-FFF2-40B4-BE49-F238E27FC236}">
                  <a16:creationId xmlns:a16="http://schemas.microsoft.com/office/drawing/2014/main" id="{DEA8319B-B962-4B58-865D-1412F140F863}"/>
                </a:ext>
              </a:extLst>
            </p:cNvPr>
            <p:cNvCxnSpPr/>
            <p:nvPr/>
          </p:nvCxnSpPr>
          <p:spPr>
            <a:xfrm>
              <a:off x="606600" y="4415781"/>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椭圆 37">
              <a:extLst>
                <a:ext uri="{FF2B5EF4-FFF2-40B4-BE49-F238E27FC236}">
                  <a16:creationId xmlns:a16="http://schemas.microsoft.com/office/drawing/2014/main" id="{0367DF77-36FF-4412-B040-C8CFAA23D4AD}"/>
                </a:ext>
              </a:extLst>
            </p:cNvPr>
            <p:cNvSpPr/>
            <p:nvPr/>
          </p:nvSpPr>
          <p:spPr>
            <a:xfrm>
              <a:off x="508216" y="5206953"/>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grpSp>
      <p:sp>
        <p:nvSpPr>
          <p:cNvPr id="44" name="文本框 43">
            <a:extLst>
              <a:ext uri="{FF2B5EF4-FFF2-40B4-BE49-F238E27FC236}">
                <a16:creationId xmlns:a16="http://schemas.microsoft.com/office/drawing/2014/main" id="{412AB51E-8550-4F16-97B5-57A33D8A83CF}"/>
              </a:ext>
            </a:extLst>
          </p:cNvPr>
          <p:cNvSpPr txBox="1"/>
          <p:nvPr/>
        </p:nvSpPr>
        <p:spPr>
          <a:xfrm>
            <a:off x="4583450" y="2798630"/>
            <a:ext cx="5899695" cy="923330"/>
          </a:xfrm>
          <a:prstGeom prst="rect">
            <a:avLst/>
          </a:prstGeom>
          <a:noFill/>
        </p:spPr>
        <p:txBody>
          <a:bodyPr wrap="square" rtlCol="0">
            <a:spAutoFit/>
          </a:bodyPr>
          <a:lstStyle>
            <a:defPPr>
              <a:defRPr lang="en-US"/>
            </a:defPPr>
            <a:lvl1pPr algn="ctr">
              <a:defRPr sz="5400">
                <a:solidFill>
                  <a:srgbClr val="A43975"/>
                </a:solidFill>
                <a:latin typeface="方正正黑简体" panose="02000000000000000000" pitchFamily="2" charset="-122"/>
                <a:ea typeface="方正正黑简体" panose="02000000000000000000" pitchFamily="2" charset="-122"/>
                <a:cs typeface="+mn-ea"/>
              </a:defRPr>
            </a:lvl1pPr>
          </a:lstStyle>
          <a:p>
            <a:r>
              <a:rPr lang="zh-CN" altLang="en-US" b="1" dirty="0">
                <a:latin typeface="微软雅黑" panose="020B0503020204020204" pitchFamily="34" charset="-122"/>
                <a:ea typeface="微软雅黑" panose="020B0503020204020204" pitchFamily="34" charset="-122"/>
                <a:sym typeface="+mn-lt"/>
              </a:rPr>
              <a:t>谢谢聆听</a:t>
            </a:r>
            <a:endParaRPr lang="en-US" altLang="zh-CN" b="1" dirty="0">
              <a:latin typeface="微软雅黑" panose="020B0503020204020204" pitchFamily="34" charset="-122"/>
              <a:ea typeface="微软雅黑" panose="020B0503020204020204" pitchFamily="34" charset="-122"/>
              <a:sym typeface="+mn-lt"/>
            </a:endParaRPr>
          </a:p>
        </p:txBody>
      </p:sp>
      <p:sp>
        <p:nvSpPr>
          <p:cNvPr id="46" name="Title 1">
            <a:extLst>
              <a:ext uri="{FF2B5EF4-FFF2-40B4-BE49-F238E27FC236}">
                <a16:creationId xmlns:a16="http://schemas.microsoft.com/office/drawing/2014/main" id="{91B2872F-D331-4C61-9148-8F11C5202C57}"/>
              </a:ext>
            </a:extLst>
          </p:cNvPr>
          <p:cNvSpPr txBox="1">
            <a:spLocks/>
          </p:cNvSpPr>
          <p:nvPr/>
        </p:nvSpPr>
        <p:spPr>
          <a:xfrm>
            <a:off x="7335156" y="541827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p>
        </p:txBody>
      </p:sp>
      <p:sp>
        <p:nvSpPr>
          <p:cNvPr id="48" name="Google Shape;13;p2">
            <a:extLst>
              <a:ext uri="{FF2B5EF4-FFF2-40B4-BE49-F238E27FC236}">
                <a16:creationId xmlns:a16="http://schemas.microsoft.com/office/drawing/2014/main" id="{97B9DD39-4AE9-4143-890C-D55ED1BAD261}"/>
              </a:ext>
            </a:extLst>
          </p:cNvPr>
          <p:cNvSpPr/>
          <p:nvPr/>
        </p:nvSpPr>
        <p:spPr>
          <a:xfrm rot="12770">
            <a:off x="9691121" y="2131207"/>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49" name="Google Shape;14;p2">
            <a:extLst>
              <a:ext uri="{FF2B5EF4-FFF2-40B4-BE49-F238E27FC236}">
                <a16:creationId xmlns:a16="http://schemas.microsoft.com/office/drawing/2014/main" id="{3E152423-2DC4-4136-B75B-0F0A2BBBE463}"/>
              </a:ext>
            </a:extLst>
          </p:cNvPr>
          <p:cNvSpPr/>
          <p:nvPr/>
        </p:nvSpPr>
        <p:spPr>
          <a:xfrm rot="12770">
            <a:off x="10113860" y="1812399"/>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3474397686"/>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8" grpId="0" animBg="1"/>
      <p:bldP spid="4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C6DFCF26-0729-4193-8D0D-DFD5608448C5}"/>
              </a:ext>
            </a:extLst>
          </p:cNvPr>
          <p:cNvSpPr/>
          <p:nvPr/>
        </p:nvSpPr>
        <p:spPr>
          <a:xfrm>
            <a:off x="8201" y="0"/>
            <a:ext cx="121838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39" name="Rectangle 6">
            <a:extLst>
              <a:ext uri="{FF2B5EF4-FFF2-40B4-BE49-F238E27FC236}">
                <a16:creationId xmlns:a16="http://schemas.microsoft.com/office/drawing/2014/main" id="{73F466E3-4A1C-4F3C-8D41-557D758E8F2B}"/>
              </a:ext>
            </a:extLst>
          </p:cNvPr>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0" name="Rectangle 6">
            <a:extLst>
              <a:ext uri="{FF2B5EF4-FFF2-40B4-BE49-F238E27FC236}">
                <a16:creationId xmlns:a16="http://schemas.microsoft.com/office/drawing/2014/main" id="{8B55C193-579B-41F1-8950-EE0561C0E521}"/>
              </a:ext>
            </a:extLst>
          </p:cNvPr>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1" name="Rectangle 6">
            <a:extLst>
              <a:ext uri="{FF2B5EF4-FFF2-40B4-BE49-F238E27FC236}">
                <a16:creationId xmlns:a16="http://schemas.microsoft.com/office/drawing/2014/main" id="{B5C70F30-87F9-49E7-946B-AEFA22A72569}"/>
              </a:ext>
            </a:extLst>
          </p:cNvPr>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34" name="Rectangle 6">
            <a:extLst>
              <a:ext uri="{FF2B5EF4-FFF2-40B4-BE49-F238E27FC236}">
                <a16:creationId xmlns:a16="http://schemas.microsoft.com/office/drawing/2014/main" id="{B018D872-74EC-4C12-835A-5F484647A850}"/>
              </a:ext>
            </a:extLst>
          </p:cNvPr>
          <p:cNvSpPr/>
          <p:nvPr/>
        </p:nvSpPr>
        <p:spPr>
          <a:xfrm>
            <a:off x="82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blipFill>
            <a:blip r:embed="rId7"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5" name="Rectangle 34">
            <a:extLst>
              <a:ext uri="{FF2B5EF4-FFF2-40B4-BE49-F238E27FC236}">
                <a16:creationId xmlns:a16="http://schemas.microsoft.com/office/drawing/2014/main" id="{3B62D48D-742F-4585-97E7-27E04C1E73AB}"/>
              </a:ext>
            </a:extLst>
          </p:cNvPr>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 name="Rectangle 6">
            <a:extLst>
              <a:ext uri="{FF2B5EF4-FFF2-40B4-BE49-F238E27FC236}">
                <a16:creationId xmlns:a16="http://schemas.microsoft.com/office/drawing/2014/main" id="{8561389A-7A84-48B4-A2FB-476D9CDA872E}"/>
              </a:ext>
            </a:extLst>
          </p:cNvPr>
          <p:cNvSpPr/>
          <p:nvPr/>
        </p:nvSpPr>
        <p:spPr>
          <a:xfrm>
            <a:off x="1" y="0"/>
            <a:ext cx="6539572"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 fmla="*/ 0 w 6270171"/>
              <a:gd name="connsiteY0" fmla="*/ 0 h 6858000"/>
              <a:gd name="connsiteX1" fmla="*/ 6270171 w 6270171"/>
              <a:gd name="connsiteY1" fmla="*/ 0 h 6858000"/>
              <a:gd name="connsiteX2" fmla="*/ 6255657 w 6270171"/>
              <a:gd name="connsiteY2" fmla="*/ 3352800 h 6858000"/>
              <a:gd name="connsiteX3" fmla="*/ 6270171 w 6270171"/>
              <a:gd name="connsiteY3" fmla="*/ 6858000 h 6858000"/>
              <a:gd name="connsiteX4" fmla="*/ 0 w 6270171"/>
              <a:gd name="connsiteY4" fmla="*/ 6858000 h 6858000"/>
              <a:gd name="connsiteX5" fmla="*/ 0 w 6270171"/>
              <a:gd name="connsiteY5" fmla="*/ 0 h 6858000"/>
              <a:gd name="connsiteX0" fmla="*/ 0 w 6729819"/>
              <a:gd name="connsiteY0" fmla="*/ 0 h 6858000"/>
              <a:gd name="connsiteX1" fmla="*/ 6270171 w 6729819"/>
              <a:gd name="connsiteY1" fmla="*/ 0 h 6858000"/>
              <a:gd name="connsiteX2" fmla="*/ 6255657 w 6729819"/>
              <a:gd name="connsiteY2" fmla="*/ 3352800 h 6858000"/>
              <a:gd name="connsiteX3" fmla="*/ 6270171 w 6729819"/>
              <a:gd name="connsiteY3" fmla="*/ 6858000 h 6858000"/>
              <a:gd name="connsiteX4" fmla="*/ 0 w 6729819"/>
              <a:gd name="connsiteY4" fmla="*/ 6858000 h 6858000"/>
              <a:gd name="connsiteX5" fmla="*/ 0 w 6729819"/>
              <a:gd name="connsiteY5" fmla="*/ 0 h 6858000"/>
              <a:gd name="connsiteX0" fmla="*/ 0 w 6526122"/>
              <a:gd name="connsiteY0" fmla="*/ 0 h 6858000"/>
              <a:gd name="connsiteX1" fmla="*/ 6270171 w 6526122"/>
              <a:gd name="connsiteY1" fmla="*/ 0 h 6858000"/>
              <a:gd name="connsiteX2" fmla="*/ 4833257 w 6526122"/>
              <a:gd name="connsiteY2" fmla="*/ 3468914 h 6858000"/>
              <a:gd name="connsiteX3" fmla="*/ 6270171 w 6526122"/>
              <a:gd name="connsiteY3" fmla="*/ 6858000 h 6858000"/>
              <a:gd name="connsiteX4" fmla="*/ 0 w 6526122"/>
              <a:gd name="connsiteY4" fmla="*/ 6858000 h 6858000"/>
              <a:gd name="connsiteX5" fmla="*/ 0 w 6526122"/>
              <a:gd name="connsiteY5" fmla="*/ 0 h 6858000"/>
              <a:gd name="connsiteX0" fmla="*/ 0 w 6539571"/>
              <a:gd name="connsiteY0" fmla="*/ 0 h 6858000"/>
              <a:gd name="connsiteX1" fmla="*/ 6270171 w 6539571"/>
              <a:gd name="connsiteY1" fmla="*/ 0 h 6858000"/>
              <a:gd name="connsiteX2" fmla="*/ 4992914 w 6539571"/>
              <a:gd name="connsiteY2" fmla="*/ 3454400 h 6858000"/>
              <a:gd name="connsiteX3" fmla="*/ 6270171 w 6539571"/>
              <a:gd name="connsiteY3" fmla="*/ 6858000 h 6858000"/>
              <a:gd name="connsiteX4" fmla="*/ 0 w 6539571"/>
              <a:gd name="connsiteY4" fmla="*/ 6858000 h 6858000"/>
              <a:gd name="connsiteX5" fmla="*/ 0 w 6539571"/>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7" name="Rectangle 36">
            <a:extLst>
              <a:ext uri="{FF2B5EF4-FFF2-40B4-BE49-F238E27FC236}">
                <a16:creationId xmlns:a16="http://schemas.microsoft.com/office/drawing/2014/main" id="{315CBA77-EC7F-4B18-98D5-C1EA7972AC80}"/>
              </a:ext>
            </a:extLst>
          </p:cNvPr>
          <p:cNvSpPr/>
          <p:nvPr/>
        </p:nvSpPr>
        <p:spPr>
          <a:xfrm>
            <a:off x="3827844" y="2209478"/>
            <a:ext cx="7658099" cy="1987026"/>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grpSp>
        <p:nvGrpSpPr>
          <p:cNvPr id="29" name="组合 28">
            <a:extLst>
              <a:ext uri="{FF2B5EF4-FFF2-40B4-BE49-F238E27FC236}">
                <a16:creationId xmlns:a16="http://schemas.microsoft.com/office/drawing/2014/main" id="{9F2AFD44-D044-48F2-A42D-6C8AF6C49875}"/>
              </a:ext>
            </a:extLst>
          </p:cNvPr>
          <p:cNvGrpSpPr/>
          <p:nvPr/>
        </p:nvGrpSpPr>
        <p:grpSpPr>
          <a:xfrm rot="10800000">
            <a:off x="355598" y="336886"/>
            <a:ext cx="101370" cy="1330760"/>
            <a:chOff x="508216" y="2820579"/>
            <a:chExt cx="196770" cy="2583143"/>
          </a:xfrm>
          <a:solidFill>
            <a:schemeClr val="bg1"/>
          </a:solidFill>
        </p:grpSpPr>
        <p:sp>
          <p:nvSpPr>
            <p:cNvPr id="30" name="椭圆 29">
              <a:extLst>
                <a:ext uri="{FF2B5EF4-FFF2-40B4-BE49-F238E27FC236}">
                  <a16:creationId xmlns:a16="http://schemas.microsoft.com/office/drawing/2014/main" id="{E4FB7A4E-4FF5-4353-80A0-8E4772FBCC9F}"/>
                </a:ext>
              </a:extLst>
            </p:cNvPr>
            <p:cNvSpPr/>
            <p:nvPr/>
          </p:nvSpPr>
          <p:spPr>
            <a:xfrm>
              <a:off x="508217" y="2820579"/>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1" name="直接连接符 30">
              <a:extLst>
                <a:ext uri="{FF2B5EF4-FFF2-40B4-BE49-F238E27FC236}">
                  <a16:creationId xmlns:a16="http://schemas.microsoft.com/office/drawing/2014/main" id="{53B363B4-0700-4352-9753-7A0B12AF7158}"/>
                </a:ext>
              </a:extLst>
            </p:cNvPr>
            <p:cNvCxnSpPr/>
            <p:nvPr/>
          </p:nvCxnSpPr>
          <p:spPr>
            <a:xfrm>
              <a:off x="606601" y="3222594"/>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椭圆 31">
              <a:extLst>
                <a:ext uri="{FF2B5EF4-FFF2-40B4-BE49-F238E27FC236}">
                  <a16:creationId xmlns:a16="http://schemas.microsoft.com/office/drawing/2014/main" id="{9520FC3F-F125-4820-B45B-02DE79F8AE01}"/>
                </a:ext>
              </a:extLst>
            </p:cNvPr>
            <p:cNvSpPr/>
            <p:nvPr/>
          </p:nvSpPr>
          <p:spPr>
            <a:xfrm>
              <a:off x="508217" y="4013767"/>
              <a:ext cx="196768" cy="19677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6" name="直接连接符 35">
              <a:extLst>
                <a:ext uri="{FF2B5EF4-FFF2-40B4-BE49-F238E27FC236}">
                  <a16:creationId xmlns:a16="http://schemas.microsoft.com/office/drawing/2014/main" id="{DEA8319B-B962-4B58-865D-1412F140F863}"/>
                </a:ext>
              </a:extLst>
            </p:cNvPr>
            <p:cNvCxnSpPr/>
            <p:nvPr/>
          </p:nvCxnSpPr>
          <p:spPr>
            <a:xfrm>
              <a:off x="606600" y="4415781"/>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椭圆 37">
              <a:extLst>
                <a:ext uri="{FF2B5EF4-FFF2-40B4-BE49-F238E27FC236}">
                  <a16:creationId xmlns:a16="http://schemas.microsoft.com/office/drawing/2014/main" id="{0367DF77-36FF-4412-B040-C8CFAA23D4AD}"/>
                </a:ext>
              </a:extLst>
            </p:cNvPr>
            <p:cNvSpPr/>
            <p:nvPr/>
          </p:nvSpPr>
          <p:spPr>
            <a:xfrm>
              <a:off x="508216" y="5206953"/>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grpSp>
      <p:sp>
        <p:nvSpPr>
          <p:cNvPr id="44" name="文本框 43">
            <a:extLst>
              <a:ext uri="{FF2B5EF4-FFF2-40B4-BE49-F238E27FC236}">
                <a16:creationId xmlns:a16="http://schemas.microsoft.com/office/drawing/2014/main" id="{412AB51E-8550-4F16-97B5-57A33D8A83CF}"/>
              </a:ext>
            </a:extLst>
          </p:cNvPr>
          <p:cNvSpPr txBox="1"/>
          <p:nvPr/>
        </p:nvSpPr>
        <p:spPr>
          <a:xfrm>
            <a:off x="4020813" y="2804216"/>
            <a:ext cx="7272159" cy="830997"/>
          </a:xfrm>
          <a:prstGeom prst="rect">
            <a:avLst/>
          </a:prstGeom>
          <a:noFill/>
        </p:spPr>
        <p:txBody>
          <a:bodyPr wrap="square" rtlCol="0">
            <a:spAutoFit/>
          </a:bodyPr>
          <a:lstStyle>
            <a:defPPr>
              <a:defRPr lang="en-US"/>
            </a:defPPr>
            <a:lvl1pPr algn="ctr">
              <a:defRPr sz="5400">
                <a:solidFill>
                  <a:srgbClr val="A43975"/>
                </a:solidFill>
                <a:latin typeface="方正正黑简体" panose="02000000000000000000" pitchFamily="2" charset="-122"/>
                <a:ea typeface="方正正黑简体" panose="02000000000000000000" pitchFamily="2" charset="-122"/>
                <a:cs typeface="+mn-ea"/>
              </a:defRPr>
            </a:lvl1pPr>
          </a:lstStyle>
          <a:p>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滨海新区推进义务教育优质均衡发展攻坚行动方案</a:t>
            </a:r>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以下简称</a:t>
            </a:r>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行动方案</a:t>
            </a:r>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a:t>
            </a:r>
            <a:endParaRPr lang="en-US" altLang="zh-CN" sz="2400" b="1" dirty="0">
              <a:latin typeface="华文中宋" panose="02010600040101010101" pitchFamily="2" charset="-122"/>
              <a:ea typeface="华文中宋" panose="02010600040101010101" pitchFamily="2" charset="-122"/>
              <a:sym typeface="+mn-lt"/>
            </a:endParaRPr>
          </a:p>
        </p:txBody>
      </p:sp>
      <p:sp>
        <p:nvSpPr>
          <p:cNvPr id="46" name="Title 1">
            <a:extLst>
              <a:ext uri="{FF2B5EF4-FFF2-40B4-BE49-F238E27FC236}">
                <a16:creationId xmlns:a16="http://schemas.microsoft.com/office/drawing/2014/main" id="{91B2872F-D331-4C61-9148-8F11C5202C57}"/>
              </a:ext>
            </a:extLst>
          </p:cNvPr>
          <p:cNvSpPr txBox="1">
            <a:spLocks/>
          </p:cNvSpPr>
          <p:nvPr/>
        </p:nvSpPr>
        <p:spPr>
          <a:xfrm>
            <a:off x="7335156" y="541827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p>
        </p:txBody>
      </p:sp>
      <p:sp>
        <p:nvSpPr>
          <p:cNvPr id="47" name="Synergistically utilize technically sound portals with frictionless chains. Dramatically customize…">
            <a:extLst>
              <a:ext uri="{FF2B5EF4-FFF2-40B4-BE49-F238E27FC236}">
                <a16:creationId xmlns:a16="http://schemas.microsoft.com/office/drawing/2014/main" id="{33CCC97A-BCA7-4992-BCD4-AAE4033958A1}"/>
              </a:ext>
            </a:extLst>
          </p:cNvPr>
          <p:cNvSpPr txBox="1"/>
          <p:nvPr/>
        </p:nvSpPr>
        <p:spPr>
          <a:xfrm>
            <a:off x="5763300" y="4344367"/>
            <a:ext cx="4948705" cy="695062"/>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v="urn:schemas-microsoft-com:vml" xmlns:mc="http://schemas.openxmlformats.org/markup-compatibility/2006" xmlns:a16="http://schemas.microsoft.com/office/drawing/2014/main" xmlns=""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pPr algn="ctr"/>
            <a:r>
              <a:rPr lang="en-US" altLang="zh-CN" sz="1600" dirty="0">
                <a:latin typeface="华文中宋" panose="02010600040101010101" pitchFamily="2" charset="-122"/>
                <a:ea typeface="华文中宋" panose="02010600040101010101" pitchFamily="2" charset="-122"/>
                <a:sym typeface="+mn-lt"/>
              </a:rPr>
              <a:t>2021</a:t>
            </a:r>
            <a:r>
              <a:rPr lang="zh-CN" altLang="en-US" sz="1600" dirty="0">
                <a:latin typeface="华文中宋" panose="02010600040101010101" pitchFamily="2" charset="-122"/>
                <a:ea typeface="华文中宋" panose="02010600040101010101" pitchFamily="2" charset="-122"/>
                <a:sym typeface="+mn-lt"/>
              </a:rPr>
              <a:t>年</a:t>
            </a:r>
            <a:r>
              <a:rPr lang="en-US" altLang="zh-CN" sz="1600" dirty="0">
                <a:latin typeface="华文中宋" panose="02010600040101010101" pitchFamily="2" charset="-122"/>
                <a:ea typeface="华文中宋" panose="02010600040101010101" pitchFamily="2" charset="-122"/>
                <a:sym typeface="+mn-lt"/>
              </a:rPr>
              <a:t>8</a:t>
            </a:r>
            <a:r>
              <a:rPr lang="zh-CN" altLang="en-US" sz="1600" dirty="0">
                <a:latin typeface="华文中宋" panose="02010600040101010101" pitchFamily="2" charset="-122"/>
                <a:ea typeface="华文中宋" panose="02010600040101010101" pitchFamily="2" charset="-122"/>
                <a:sym typeface="+mn-lt"/>
              </a:rPr>
              <a:t>月，滨海新区人民政府办公室印发</a:t>
            </a:r>
          </a:p>
          <a:p>
            <a:pPr algn="ctr"/>
            <a:r>
              <a:rPr lang="zh-CN" altLang="en-US" sz="1600" dirty="0">
                <a:latin typeface="华文中宋" panose="02010600040101010101" pitchFamily="2" charset="-122"/>
                <a:ea typeface="华文中宋" panose="02010600040101010101" pitchFamily="2" charset="-122"/>
                <a:sym typeface="+mn-lt"/>
              </a:rPr>
              <a:t>（津滨政办发</a:t>
            </a:r>
            <a:r>
              <a:rPr lang="en-US" altLang="zh-CN" sz="1600" dirty="0">
                <a:latin typeface="华文中宋" panose="02010600040101010101" pitchFamily="2" charset="-122"/>
                <a:ea typeface="华文中宋" panose="02010600040101010101" pitchFamily="2" charset="-122"/>
                <a:sym typeface="+mn-lt"/>
              </a:rPr>
              <a:t>〔2021〕18</a:t>
            </a:r>
            <a:r>
              <a:rPr lang="zh-CN" altLang="en-US" sz="1600" dirty="0">
                <a:latin typeface="华文中宋" panose="02010600040101010101" pitchFamily="2" charset="-122"/>
                <a:ea typeface="华文中宋" panose="02010600040101010101" pitchFamily="2" charset="-122"/>
                <a:sym typeface="+mn-lt"/>
              </a:rPr>
              <a:t>号）</a:t>
            </a:r>
            <a:endParaRPr lang="en-US" altLang="zh-CN" sz="1600" dirty="0">
              <a:latin typeface="华文中宋" panose="02010600040101010101" pitchFamily="2" charset="-122"/>
              <a:ea typeface="华文中宋" panose="02010600040101010101" pitchFamily="2" charset="-122"/>
              <a:sym typeface="+mn-lt"/>
            </a:endParaRPr>
          </a:p>
        </p:txBody>
      </p:sp>
      <p:sp>
        <p:nvSpPr>
          <p:cNvPr id="48" name="Google Shape;13;p2">
            <a:extLst>
              <a:ext uri="{FF2B5EF4-FFF2-40B4-BE49-F238E27FC236}">
                <a16:creationId xmlns:a16="http://schemas.microsoft.com/office/drawing/2014/main" id="{97B9DD39-4AE9-4143-890C-D55ED1BAD261}"/>
              </a:ext>
            </a:extLst>
          </p:cNvPr>
          <p:cNvSpPr/>
          <p:nvPr/>
        </p:nvSpPr>
        <p:spPr>
          <a:xfrm rot="12770">
            <a:off x="9691121" y="2131207"/>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49" name="Google Shape;14;p2">
            <a:extLst>
              <a:ext uri="{FF2B5EF4-FFF2-40B4-BE49-F238E27FC236}">
                <a16:creationId xmlns:a16="http://schemas.microsoft.com/office/drawing/2014/main" id="{3E152423-2DC4-4136-B75B-0F0A2BBBE463}"/>
              </a:ext>
            </a:extLst>
          </p:cNvPr>
          <p:cNvSpPr/>
          <p:nvPr/>
        </p:nvSpPr>
        <p:spPr>
          <a:xfrm rot="12770">
            <a:off x="10113860" y="1812399"/>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1589966702"/>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7" grpId="0" animBg="1"/>
      <p:bldP spid="48" grpId="0" animBg="1"/>
      <p:bldP spid="4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 name="íṣ1îḋé">
            <a:extLst>
              <a:ext uri="{FF2B5EF4-FFF2-40B4-BE49-F238E27FC236}">
                <a16:creationId xmlns:a16="http://schemas.microsoft.com/office/drawing/2014/main" id="{4F65CAD0-83DF-43DD-A36A-C5B9730EB469}"/>
              </a:ext>
            </a:extLst>
          </p:cNvPr>
          <p:cNvSpPr/>
          <p:nvPr/>
        </p:nvSpPr>
        <p:spPr>
          <a:xfrm>
            <a:off x="791321" y="1"/>
            <a:ext cx="4053563" cy="6125029"/>
          </a:xfrm>
          <a:prstGeom prst="rect">
            <a:avLst/>
          </a:prstGeom>
          <a:blipFill>
            <a:blip r:embed="rId3" cstate="screen">
              <a:grayscl/>
              <a:extLst>
                <a:ext uri="{28A0092B-C50C-407E-A947-70E740481C1C}">
                  <a14:useLocalDpi xmlns:a14="http://schemas.microsoft.com/office/drawing/2010/main"/>
                </a:ext>
              </a:extLst>
            </a:blip>
            <a:stretch>
              <a:fillRect l="-31256" r="-30912"/>
            </a:stretch>
          </a:blipFill>
          <a:ln w="381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endParaRPr lang="zh-CN" altLang="en-US">
              <a:cs typeface="+mn-ea"/>
              <a:sym typeface="+mn-lt"/>
            </a:endParaRPr>
          </a:p>
        </p:txBody>
      </p:sp>
      <p:sp>
        <p:nvSpPr>
          <p:cNvPr id="278" name="Rectangle 34">
            <a:extLst>
              <a:ext uri="{FF2B5EF4-FFF2-40B4-BE49-F238E27FC236}">
                <a16:creationId xmlns:a16="http://schemas.microsoft.com/office/drawing/2014/main" id="{D1F89E4E-E549-4B72-B0C1-B89855BD0328}"/>
              </a:ext>
            </a:extLst>
          </p:cNvPr>
          <p:cNvSpPr/>
          <p:nvPr/>
        </p:nvSpPr>
        <p:spPr>
          <a:xfrm flipH="1" flipV="1">
            <a:off x="0" y="3553242"/>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 name="connsiteX0" fmla="*/ 0 w 3479810"/>
              <a:gd name="connsiteY0" fmla="*/ 0 h 1207779"/>
              <a:gd name="connsiteX1" fmla="*/ 3479810 w 3479810"/>
              <a:gd name="connsiteY1" fmla="*/ 4553 h 1207779"/>
              <a:gd name="connsiteX2" fmla="*/ 3479810 w 3479810"/>
              <a:gd name="connsiteY2" fmla="*/ 1130405 h 1207779"/>
              <a:gd name="connsiteX3" fmla="*/ 2185493 w 3479810"/>
              <a:gd name="connsiteY3" fmla="*/ 775263 h 1207779"/>
              <a:gd name="connsiteX4" fmla="*/ 0 w 3479810"/>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6" name="Rectangle 255">
            <a:extLst>
              <a:ext uri="{FF2B5EF4-FFF2-40B4-BE49-F238E27FC236}">
                <a16:creationId xmlns:a16="http://schemas.microsoft.com/office/drawing/2014/main" id="{562E07FC-6BAE-43C3-9C70-3CD3DB4FC862}"/>
              </a:ext>
            </a:extLst>
          </p:cNvPr>
          <p:cNvSpPr/>
          <p:nvPr/>
        </p:nvSpPr>
        <p:spPr>
          <a:xfrm>
            <a:off x="791321" y="1"/>
            <a:ext cx="4053563" cy="6125029"/>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7" name="Freeform 104">
            <a:extLst>
              <a:ext uri="{FF2B5EF4-FFF2-40B4-BE49-F238E27FC236}">
                <a16:creationId xmlns:a16="http://schemas.microsoft.com/office/drawing/2014/main" id="{FA4E45B2-3D0D-4E4D-B26A-634429D8F186}"/>
              </a:ext>
            </a:extLst>
          </p:cNvPr>
          <p:cNvSpPr>
            <a:spLocks noEditPoints="1"/>
          </p:cNvSpPr>
          <p:nvPr/>
        </p:nvSpPr>
        <p:spPr bwMode="auto">
          <a:xfrm>
            <a:off x="2482619" y="1103366"/>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2" name="文本框 271">
            <a:extLst>
              <a:ext uri="{FF2B5EF4-FFF2-40B4-BE49-F238E27FC236}">
                <a16:creationId xmlns:a16="http://schemas.microsoft.com/office/drawing/2014/main" id="{9EF93C4E-CBFA-4060-8575-7CC52AEF45BE}"/>
              </a:ext>
            </a:extLst>
          </p:cNvPr>
          <p:cNvSpPr txBox="1"/>
          <p:nvPr/>
        </p:nvSpPr>
        <p:spPr>
          <a:xfrm>
            <a:off x="1316175" y="2535319"/>
            <a:ext cx="2935135" cy="769441"/>
          </a:xfrm>
          <a:prstGeom prst="rect">
            <a:avLst/>
          </a:prstGeom>
          <a:noFill/>
        </p:spPr>
        <p:txBody>
          <a:bodyPr wrap="square" rtlCol="0">
            <a:spAutoFit/>
          </a:bodyPr>
          <a:lstStyle/>
          <a:p>
            <a:pPr algn="ctr"/>
            <a:r>
              <a:rPr lang="en-US" altLang="zh-CN" sz="4400" u="sng" dirty="0">
                <a:solidFill>
                  <a:schemeClr val="bg1"/>
                </a:solidFill>
                <a:cs typeface="+mn-ea"/>
                <a:sym typeface="+mn-lt"/>
              </a:rPr>
              <a:t>Contents</a:t>
            </a:r>
          </a:p>
        </p:txBody>
      </p:sp>
      <p:sp>
        <p:nvSpPr>
          <p:cNvPr id="276" name="isļîďe">
            <a:extLst>
              <a:ext uri="{FF2B5EF4-FFF2-40B4-BE49-F238E27FC236}">
                <a16:creationId xmlns:a16="http://schemas.microsoft.com/office/drawing/2014/main" id="{DEB141E2-F03E-4A78-B094-1F676FC82643}"/>
              </a:ext>
            </a:extLst>
          </p:cNvPr>
          <p:cNvSpPr/>
          <p:nvPr/>
        </p:nvSpPr>
        <p:spPr>
          <a:xfrm>
            <a:off x="6457904" y="1270814"/>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79" name="Synergistically utilize technically sound portals with frictionless chains. Dramatically customize…">
            <a:extLst>
              <a:ext uri="{FF2B5EF4-FFF2-40B4-BE49-F238E27FC236}">
                <a16:creationId xmlns:a16="http://schemas.microsoft.com/office/drawing/2014/main" id="{9BCB0C95-B8CE-4E9B-9274-23E4D978BE01}"/>
              </a:ext>
            </a:extLst>
          </p:cNvPr>
          <p:cNvSpPr txBox="1"/>
          <p:nvPr/>
        </p:nvSpPr>
        <p:spPr>
          <a:xfrm>
            <a:off x="7063684" y="1077750"/>
            <a:ext cx="2810448" cy="570221"/>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一、制定的背景</a:t>
            </a:r>
          </a:p>
        </p:txBody>
      </p:sp>
      <p:sp>
        <p:nvSpPr>
          <p:cNvPr id="280" name="isļîďe">
            <a:extLst>
              <a:ext uri="{FF2B5EF4-FFF2-40B4-BE49-F238E27FC236}">
                <a16:creationId xmlns:a16="http://schemas.microsoft.com/office/drawing/2014/main" id="{FD920C56-021B-4C91-8286-D5877D3997EF}"/>
              </a:ext>
            </a:extLst>
          </p:cNvPr>
          <p:cNvSpPr/>
          <p:nvPr/>
        </p:nvSpPr>
        <p:spPr>
          <a:xfrm>
            <a:off x="6457904" y="2344003"/>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81" name="Synergistically utilize technically sound portals with frictionless chains. Dramatically customize…">
            <a:extLst>
              <a:ext uri="{FF2B5EF4-FFF2-40B4-BE49-F238E27FC236}">
                <a16:creationId xmlns:a16="http://schemas.microsoft.com/office/drawing/2014/main" id="{DE71C2CA-19E2-4DD7-A56C-7C7800D7FADA}"/>
              </a:ext>
            </a:extLst>
          </p:cNvPr>
          <p:cNvSpPr txBox="1"/>
          <p:nvPr/>
        </p:nvSpPr>
        <p:spPr>
          <a:xfrm>
            <a:off x="7063684" y="2155387"/>
            <a:ext cx="2810448" cy="570221"/>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二、工作目标</a:t>
            </a:r>
          </a:p>
        </p:txBody>
      </p:sp>
      <p:sp>
        <p:nvSpPr>
          <p:cNvPr id="282" name="isļîďe">
            <a:extLst>
              <a:ext uri="{FF2B5EF4-FFF2-40B4-BE49-F238E27FC236}">
                <a16:creationId xmlns:a16="http://schemas.microsoft.com/office/drawing/2014/main" id="{8810DA06-07B5-44BA-BD9E-89FAA438B7A5}"/>
              </a:ext>
            </a:extLst>
          </p:cNvPr>
          <p:cNvSpPr/>
          <p:nvPr/>
        </p:nvSpPr>
        <p:spPr>
          <a:xfrm>
            <a:off x="6457904" y="3419823"/>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83" name="Synergistically utilize technically sound portals with frictionless chains. Dramatically customize…">
            <a:extLst>
              <a:ext uri="{FF2B5EF4-FFF2-40B4-BE49-F238E27FC236}">
                <a16:creationId xmlns:a16="http://schemas.microsoft.com/office/drawing/2014/main" id="{AC5B8C5C-7E6C-416A-ACA9-A2AA0DB016B5}"/>
              </a:ext>
            </a:extLst>
          </p:cNvPr>
          <p:cNvSpPr txBox="1"/>
          <p:nvPr/>
        </p:nvSpPr>
        <p:spPr>
          <a:xfrm>
            <a:off x="7063684" y="3218975"/>
            <a:ext cx="2810448" cy="570221"/>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三、主要任务</a:t>
            </a:r>
          </a:p>
        </p:txBody>
      </p:sp>
      <p:sp>
        <p:nvSpPr>
          <p:cNvPr id="284" name="isļîďe">
            <a:extLst>
              <a:ext uri="{FF2B5EF4-FFF2-40B4-BE49-F238E27FC236}">
                <a16:creationId xmlns:a16="http://schemas.microsoft.com/office/drawing/2014/main" id="{F35FBC72-F6DA-4494-B61E-10A63148AE74}"/>
              </a:ext>
            </a:extLst>
          </p:cNvPr>
          <p:cNvSpPr/>
          <p:nvPr/>
        </p:nvSpPr>
        <p:spPr>
          <a:xfrm>
            <a:off x="6457904" y="4493012"/>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85" name="Synergistically utilize technically sound portals with frictionless chains. Dramatically customize…">
            <a:extLst>
              <a:ext uri="{FF2B5EF4-FFF2-40B4-BE49-F238E27FC236}">
                <a16:creationId xmlns:a16="http://schemas.microsoft.com/office/drawing/2014/main" id="{02199E38-8629-4353-BEE5-39C39847BEEB}"/>
              </a:ext>
            </a:extLst>
          </p:cNvPr>
          <p:cNvSpPr txBox="1"/>
          <p:nvPr/>
        </p:nvSpPr>
        <p:spPr>
          <a:xfrm>
            <a:off x="7063684" y="4296536"/>
            <a:ext cx="2810448" cy="570221"/>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四、工作措施</a:t>
            </a:r>
          </a:p>
        </p:txBody>
      </p:sp>
    </p:spTree>
    <p:extLst>
      <p:ext uri="{BB962C8B-B14F-4D97-AF65-F5344CB8AC3E}">
        <p14:creationId xmlns:p14="http://schemas.microsoft.com/office/powerpoint/2010/main" val="2918414296"/>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2"/>
                                        </p:tgtEl>
                                        <p:attrNameLst>
                                          <p:attrName>style.visibility</p:attrName>
                                        </p:attrNameLst>
                                      </p:cBhvr>
                                      <p:to>
                                        <p:strVal val="visible"/>
                                      </p:to>
                                    </p:set>
                                    <p:animEffect transition="in" filter="fade">
                                      <p:cBhvr>
                                        <p:cTn id="7" dur="500"/>
                                        <p:tgtEl>
                                          <p:spTgt spid="27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9"/>
                                        </p:tgtEl>
                                        <p:attrNameLst>
                                          <p:attrName>style.visibility</p:attrName>
                                        </p:attrNameLst>
                                      </p:cBhvr>
                                      <p:to>
                                        <p:strVal val="visible"/>
                                      </p:to>
                                    </p:set>
                                    <p:animEffect transition="in" filter="fade">
                                      <p:cBhvr>
                                        <p:cTn id="11" dur="500"/>
                                        <p:tgtEl>
                                          <p:spTgt spid="27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1"/>
                                        </p:tgtEl>
                                        <p:attrNameLst>
                                          <p:attrName>style.visibility</p:attrName>
                                        </p:attrNameLst>
                                      </p:cBhvr>
                                      <p:to>
                                        <p:strVal val="visible"/>
                                      </p:to>
                                    </p:set>
                                    <p:animEffect transition="in" filter="fade">
                                      <p:cBhvr>
                                        <p:cTn id="15" dur="500"/>
                                        <p:tgtEl>
                                          <p:spTgt spid="28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83"/>
                                        </p:tgtEl>
                                        <p:attrNameLst>
                                          <p:attrName>style.visibility</p:attrName>
                                        </p:attrNameLst>
                                      </p:cBhvr>
                                      <p:to>
                                        <p:strVal val="visible"/>
                                      </p:to>
                                    </p:set>
                                    <p:animEffect transition="in" filter="fade">
                                      <p:cBhvr>
                                        <p:cTn id="19" dur="500"/>
                                        <p:tgtEl>
                                          <p:spTgt spid="28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85"/>
                                        </p:tgtEl>
                                        <p:attrNameLst>
                                          <p:attrName>style.visibility</p:attrName>
                                        </p:attrNameLst>
                                      </p:cBhvr>
                                      <p:to>
                                        <p:strVal val="visible"/>
                                      </p:to>
                                    </p:set>
                                    <p:animEffect transition="in" filter="fade">
                                      <p:cBhvr>
                                        <p:cTn id="23" dur="500"/>
                                        <p:tgtEl>
                                          <p:spTgt spid="2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 grpId="0"/>
      <p:bldP spid="279" grpId="0" animBg="1"/>
      <p:bldP spid="281" grpId="0" animBg="1"/>
      <p:bldP spid="283" grpId="0" animBg="1"/>
      <p:bldP spid="28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a:extLst>
              <a:ext uri="{FF2B5EF4-FFF2-40B4-BE49-F238E27FC236}">
                <a16:creationId xmlns:a16="http://schemas.microsoft.com/office/drawing/2014/main" id="{419943E5-C2EF-4133-ADC8-92BBFCBEF39F}"/>
              </a:ext>
            </a:extLst>
          </p:cNvPr>
          <p:cNvGrpSpPr/>
          <p:nvPr/>
        </p:nvGrpSpPr>
        <p:grpSpPr>
          <a:xfrm>
            <a:off x="6264922" y="1132238"/>
            <a:ext cx="4576180" cy="4593524"/>
            <a:chOff x="6540501" y="0"/>
            <a:chExt cx="4896342" cy="4914901"/>
          </a:xfrm>
        </p:grpSpPr>
        <p:sp>
          <p:nvSpPr>
            <p:cNvPr id="25" name="Rectangle: Rounded Corners 24">
              <a:extLst>
                <a:ext uri="{FF2B5EF4-FFF2-40B4-BE49-F238E27FC236}">
                  <a16:creationId xmlns:a16="http://schemas.microsoft.com/office/drawing/2014/main" id="{494E6301-EB23-4685-88EB-C44A54F0F7DD}"/>
                </a:ext>
              </a:extLst>
            </p:cNvPr>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a:extLst>
                <a:ext uri="{FF2B5EF4-FFF2-40B4-BE49-F238E27FC236}">
                  <a16:creationId xmlns:a16="http://schemas.microsoft.com/office/drawing/2014/main" id="{377C7E56-A503-4A1C-A558-116396C5E36E}"/>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6899651" y="0"/>
              <a:ext cx="4537192" cy="4622800"/>
            </a:xfrm>
            <a:prstGeom prst="rect">
              <a:avLst/>
            </a:prstGeom>
          </p:spPr>
        </p:pic>
      </p:gr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a:extLst>
              <a:ext uri="{FF2B5EF4-FFF2-40B4-BE49-F238E27FC236}">
                <a16:creationId xmlns:a16="http://schemas.microsoft.com/office/drawing/2014/main" id="{531409A3-BCA5-4112-983E-0B015B4FEC9B}"/>
              </a:ext>
            </a:extLst>
          </p:cNvPr>
          <p:cNvSpPr txBox="1"/>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一、制定的背景</a:t>
            </a:r>
            <a:endParaRPr lang="en-US" altLang="zh-CN" sz="4400" b="1" u="sng" dirty="0">
              <a:solidFill>
                <a:srgbClr val="A43975"/>
              </a:solidFill>
              <a:cs typeface="+mn-ea"/>
              <a:sym typeface="+mn-lt"/>
            </a:endParaRPr>
          </a:p>
        </p:txBody>
      </p:sp>
      <p:sp>
        <p:nvSpPr>
          <p:cNvPr id="17" name="Title 1">
            <a:extLst>
              <a:ext uri="{FF2B5EF4-FFF2-40B4-BE49-F238E27FC236}">
                <a16:creationId xmlns:a16="http://schemas.microsoft.com/office/drawing/2014/main" id="{EA2F7233-5CF3-4BAA-9DB3-924685106EE7}"/>
              </a:ext>
            </a:extLst>
          </p:cNvPr>
          <p:cNvSpPr txBox="1">
            <a:spLocks/>
          </p:cNvSpPr>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p>
        </p:txBody>
      </p:sp>
      <p:sp>
        <p:nvSpPr>
          <p:cNvPr id="18" name="Synergistically utilize technically sound portals with frictionless chains. Dramatically customize…">
            <a:extLst>
              <a:ext uri="{FF2B5EF4-FFF2-40B4-BE49-F238E27FC236}">
                <a16:creationId xmlns:a16="http://schemas.microsoft.com/office/drawing/2014/main" id="{68328037-B8CC-4CFE-9C61-0B136E1EDB1B}"/>
              </a:ext>
            </a:extLst>
          </p:cNvPr>
          <p:cNvSpPr txBox="1"/>
          <p:nvPr/>
        </p:nvSpPr>
        <p:spPr>
          <a:xfrm>
            <a:off x="1440861" y="3649391"/>
            <a:ext cx="3905088" cy="695190"/>
          </a:xfrm>
          <a:prstGeom prst="rect">
            <a:avLst/>
          </a:prstGeom>
          <a:ln w="12700">
            <a:miter lim="400000"/>
          </a:ln>
          <a:extLst>
            <a:ext uri="{C572A759-6A51-4108-AA02-DFA0A04FC94B}">
              <ma14:wrappingTextBoxFlag xmlns:ma14="http://schemas.microsoft.com/office/mac/drawingml/2011/main" xmlns:p14="http://schemas.microsoft.com/office/powerpoint/2010/main" xmlns:a14="http://schemas.microsoft.com/office/drawing/2010/main" xmlns:v="urn:schemas-microsoft-com:vml" xmlns:mc="http://schemas.openxmlformats.org/markup-compatibility/2006" xmlns:a16="http://schemas.microsoft.com/office/drawing/2014/main" xmlns=""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1600" dirty="0">
                <a:sym typeface="+mn-lt"/>
              </a:rPr>
              <a:t>教育部印发</a:t>
            </a:r>
            <a:r>
              <a:rPr lang="en-US" altLang="zh-CN" sz="1600" dirty="0">
                <a:sym typeface="+mn-lt"/>
              </a:rPr>
              <a:t>《</a:t>
            </a:r>
            <a:r>
              <a:rPr lang="zh-CN" altLang="en-US" sz="1600" dirty="0">
                <a:sym typeface="+mn-lt"/>
              </a:rPr>
              <a:t>县域义务教育优质均衡发展督导评估办法</a:t>
            </a:r>
            <a:r>
              <a:rPr lang="en-US" altLang="zh-CN" sz="1600" dirty="0">
                <a:sym typeface="+mn-lt"/>
              </a:rPr>
              <a:t>》</a:t>
            </a:r>
            <a:r>
              <a:rPr lang="zh-CN" altLang="en-US" sz="1600" dirty="0">
                <a:sym typeface="+mn-lt"/>
              </a:rPr>
              <a:t>（教督</a:t>
            </a:r>
            <a:r>
              <a:rPr lang="en-US" altLang="zh-CN" sz="1600" dirty="0">
                <a:sym typeface="+mn-lt"/>
              </a:rPr>
              <a:t>〔2017〕6</a:t>
            </a:r>
            <a:r>
              <a:rPr lang="zh-CN" altLang="en-US" sz="1600" dirty="0">
                <a:sym typeface="+mn-lt"/>
              </a:rPr>
              <a:t>号）</a:t>
            </a:r>
            <a:endParaRPr lang="en-US" altLang="zh-CN" sz="1600" dirty="0">
              <a:sym typeface="+mn-lt"/>
            </a:endParaRPr>
          </a:p>
        </p:txBody>
      </p:sp>
      <p:sp>
        <p:nvSpPr>
          <p:cNvPr id="19" name="Google Shape;13;p2">
            <a:extLst>
              <a:ext uri="{FF2B5EF4-FFF2-40B4-BE49-F238E27FC236}">
                <a16:creationId xmlns:a16="http://schemas.microsoft.com/office/drawing/2014/main" id="{509DD1A6-1FA7-493E-B44D-F8868C2102FE}"/>
              </a:ext>
            </a:extLst>
          </p:cNvPr>
          <p:cNvSpPr/>
          <p:nvPr/>
        </p:nvSpPr>
        <p:spPr>
          <a:xfrm rot="12770">
            <a:off x="628033" y="2574350"/>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20" name="Google Shape;14;p2">
            <a:extLst>
              <a:ext uri="{FF2B5EF4-FFF2-40B4-BE49-F238E27FC236}">
                <a16:creationId xmlns:a16="http://schemas.microsoft.com/office/drawing/2014/main" id="{9FDDE0E7-DC25-48CF-AAB3-D30CE6AB5B87}"/>
              </a:ext>
            </a:extLst>
          </p:cNvPr>
          <p:cNvSpPr/>
          <p:nvPr/>
        </p:nvSpPr>
        <p:spPr>
          <a:xfrm rot="12770">
            <a:off x="1050772" y="2255542"/>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1251617934"/>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animBg="1"/>
      <p:bldP spid="19" grpId="0" animBg="1"/>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12"/>
        <p:cNvGrpSpPr/>
        <p:nvPr/>
      </p:nvGrpSpPr>
      <p:grpSpPr>
        <a:xfrm>
          <a:off x="0" y="0"/>
          <a:ext cx="0" cy="0"/>
          <a:chOff x="0" y="0"/>
          <a:chExt cx="0" cy="0"/>
        </a:xfrm>
      </p:grpSpPr>
      <p:sp>
        <p:nvSpPr>
          <p:cNvPr id="1414" name="Google Shape;1414;p38"/>
          <p:cNvSpPr/>
          <p:nvPr/>
        </p:nvSpPr>
        <p:spPr>
          <a:xfrm>
            <a:off x="7835453" y="2791106"/>
            <a:ext cx="663911" cy="662768"/>
          </a:xfrm>
          <a:custGeom>
            <a:avLst/>
            <a:gdLst/>
            <a:ahLst/>
            <a:cxnLst/>
            <a:rect l="l" t="t" r="r" b="b"/>
            <a:pathLst>
              <a:path w="18590" h="18558" extrusionOk="0">
                <a:moveTo>
                  <a:pt x="9279" y="0"/>
                </a:moveTo>
                <a:cubicBezTo>
                  <a:pt x="4149" y="32"/>
                  <a:pt x="0" y="4180"/>
                  <a:pt x="32" y="9311"/>
                </a:cubicBezTo>
                <a:cubicBezTo>
                  <a:pt x="32" y="14441"/>
                  <a:pt x="4212" y="18558"/>
                  <a:pt x="9311" y="18558"/>
                </a:cubicBezTo>
                <a:cubicBezTo>
                  <a:pt x="14441" y="18558"/>
                  <a:pt x="18590" y="14378"/>
                  <a:pt x="18558" y="9247"/>
                </a:cubicBezTo>
                <a:cubicBezTo>
                  <a:pt x="18558" y="4149"/>
                  <a:pt x="14378" y="0"/>
                  <a:pt x="9279"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15" name="Google Shape;1415;p38"/>
          <p:cNvSpPr/>
          <p:nvPr/>
        </p:nvSpPr>
        <p:spPr>
          <a:xfrm>
            <a:off x="6581165" y="5684208"/>
            <a:ext cx="663911" cy="662768"/>
          </a:xfrm>
          <a:custGeom>
            <a:avLst/>
            <a:gdLst/>
            <a:ahLst/>
            <a:cxnLst/>
            <a:rect l="l" t="t" r="r" b="b"/>
            <a:pathLst>
              <a:path w="18590" h="18558" extrusionOk="0">
                <a:moveTo>
                  <a:pt x="9279" y="0"/>
                </a:moveTo>
                <a:cubicBezTo>
                  <a:pt x="4149" y="32"/>
                  <a:pt x="0" y="4180"/>
                  <a:pt x="32" y="9311"/>
                </a:cubicBezTo>
                <a:cubicBezTo>
                  <a:pt x="32" y="14441"/>
                  <a:pt x="4212" y="18558"/>
                  <a:pt x="9311" y="18558"/>
                </a:cubicBezTo>
                <a:cubicBezTo>
                  <a:pt x="14441" y="18526"/>
                  <a:pt x="18590" y="14378"/>
                  <a:pt x="18558" y="9247"/>
                </a:cubicBezTo>
                <a:cubicBezTo>
                  <a:pt x="18558" y="4149"/>
                  <a:pt x="14378" y="0"/>
                  <a:pt x="9279"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16" name="Google Shape;1416;p38"/>
          <p:cNvSpPr/>
          <p:nvPr/>
        </p:nvSpPr>
        <p:spPr>
          <a:xfrm>
            <a:off x="4942315" y="1537927"/>
            <a:ext cx="663947" cy="661697"/>
          </a:xfrm>
          <a:custGeom>
            <a:avLst/>
            <a:gdLst/>
            <a:ahLst/>
            <a:cxnLst/>
            <a:rect l="l" t="t" r="r" b="b"/>
            <a:pathLst>
              <a:path w="18591" h="18528" extrusionOk="0">
                <a:moveTo>
                  <a:pt x="9338" y="1"/>
                </a:moveTo>
                <a:cubicBezTo>
                  <a:pt x="9318" y="1"/>
                  <a:pt x="9299" y="1"/>
                  <a:pt x="9280" y="1"/>
                </a:cubicBezTo>
                <a:cubicBezTo>
                  <a:pt x="4149" y="1"/>
                  <a:pt x="1" y="4181"/>
                  <a:pt x="32" y="9280"/>
                </a:cubicBezTo>
                <a:cubicBezTo>
                  <a:pt x="32" y="14391"/>
                  <a:pt x="4181" y="18527"/>
                  <a:pt x="9253" y="18527"/>
                </a:cubicBezTo>
                <a:cubicBezTo>
                  <a:pt x="9273" y="18527"/>
                  <a:pt x="9292" y="18527"/>
                  <a:pt x="9311" y="18527"/>
                </a:cubicBezTo>
                <a:cubicBezTo>
                  <a:pt x="14442" y="18527"/>
                  <a:pt x="18590" y="14347"/>
                  <a:pt x="18559" y="9248"/>
                </a:cubicBezTo>
                <a:cubicBezTo>
                  <a:pt x="18559" y="4137"/>
                  <a:pt x="14410" y="1"/>
                  <a:pt x="9338"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17" name="Google Shape;1417;p38"/>
          <p:cNvSpPr/>
          <p:nvPr/>
        </p:nvSpPr>
        <p:spPr>
          <a:xfrm>
            <a:off x="3689171" y="4431029"/>
            <a:ext cx="662804" cy="661697"/>
          </a:xfrm>
          <a:custGeom>
            <a:avLst/>
            <a:gdLst/>
            <a:ahLst/>
            <a:cxnLst/>
            <a:rect l="l" t="t" r="r" b="b"/>
            <a:pathLst>
              <a:path w="18559" h="18528" extrusionOk="0">
                <a:moveTo>
                  <a:pt x="9306" y="1"/>
                </a:moveTo>
                <a:cubicBezTo>
                  <a:pt x="9287" y="1"/>
                  <a:pt x="9267" y="1"/>
                  <a:pt x="9248" y="1"/>
                </a:cubicBezTo>
                <a:cubicBezTo>
                  <a:pt x="4117" y="1"/>
                  <a:pt x="0" y="4181"/>
                  <a:pt x="0" y="9280"/>
                </a:cubicBezTo>
                <a:cubicBezTo>
                  <a:pt x="32" y="14391"/>
                  <a:pt x="4149" y="18527"/>
                  <a:pt x="9221" y="18527"/>
                </a:cubicBezTo>
                <a:cubicBezTo>
                  <a:pt x="9241" y="18527"/>
                  <a:pt x="9260" y="18527"/>
                  <a:pt x="9279" y="18527"/>
                </a:cubicBezTo>
                <a:cubicBezTo>
                  <a:pt x="14410" y="18527"/>
                  <a:pt x="18558" y="14347"/>
                  <a:pt x="18527" y="9248"/>
                </a:cubicBezTo>
                <a:cubicBezTo>
                  <a:pt x="18527" y="4137"/>
                  <a:pt x="14410" y="1"/>
                  <a:pt x="930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18" name="Google Shape;1418;p38"/>
          <p:cNvSpPr/>
          <p:nvPr/>
        </p:nvSpPr>
        <p:spPr>
          <a:xfrm>
            <a:off x="6718019" y="5819921"/>
            <a:ext cx="391347" cy="391347"/>
          </a:xfrm>
          <a:custGeom>
            <a:avLst/>
            <a:gdLst/>
            <a:ahLst/>
            <a:cxnLst/>
            <a:rect l="l" t="t" r="r" b="b"/>
            <a:pathLst>
              <a:path w="10958" h="10958" extrusionOk="0">
                <a:moveTo>
                  <a:pt x="7696" y="1299"/>
                </a:moveTo>
                <a:lnTo>
                  <a:pt x="7696" y="1299"/>
                </a:lnTo>
                <a:cubicBezTo>
                  <a:pt x="8076" y="1489"/>
                  <a:pt x="8424" y="1742"/>
                  <a:pt x="8709" y="1995"/>
                </a:cubicBezTo>
                <a:cubicBezTo>
                  <a:pt x="8582" y="2122"/>
                  <a:pt x="8487" y="2217"/>
                  <a:pt x="8361" y="2312"/>
                </a:cubicBezTo>
                <a:cubicBezTo>
                  <a:pt x="8171" y="1932"/>
                  <a:pt x="7949" y="1584"/>
                  <a:pt x="7696" y="1299"/>
                </a:cubicBezTo>
                <a:close/>
                <a:moveTo>
                  <a:pt x="3199" y="1299"/>
                </a:moveTo>
                <a:cubicBezTo>
                  <a:pt x="2945" y="1584"/>
                  <a:pt x="2724" y="1932"/>
                  <a:pt x="2534" y="2344"/>
                </a:cubicBezTo>
                <a:cubicBezTo>
                  <a:pt x="2439" y="2249"/>
                  <a:pt x="2312" y="2122"/>
                  <a:pt x="2185" y="2027"/>
                </a:cubicBezTo>
                <a:cubicBezTo>
                  <a:pt x="2502" y="1742"/>
                  <a:pt x="2850" y="1489"/>
                  <a:pt x="3199" y="1299"/>
                </a:cubicBezTo>
                <a:close/>
                <a:moveTo>
                  <a:pt x="5289" y="729"/>
                </a:moveTo>
                <a:lnTo>
                  <a:pt x="5289" y="3231"/>
                </a:lnTo>
                <a:cubicBezTo>
                  <a:pt x="4180" y="3199"/>
                  <a:pt x="3484" y="2977"/>
                  <a:pt x="2850" y="2534"/>
                </a:cubicBezTo>
                <a:cubicBezTo>
                  <a:pt x="3167" y="1837"/>
                  <a:pt x="3610" y="1299"/>
                  <a:pt x="4117" y="919"/>
                </a:cubicBezTo>
                <a:cubicBezTo>
                  <a:pt x="4497" y="824"/>
                  <a:pt x="4877" y="760"/>
                  <a:pt x="5289" y="729"/>
                </a:cubicBezTo>
                <a:close/>
                <a:moveTo>
                  <a:pt x="5637" y="729"/>
                </a:moveTo>
                <a:cubicBezTo>
                  <a:pt x="6049" y="729"/>
                  <a:pt x="6429" y="792"/>
                  <a:pt x="6809" y="919"/>
                </a:cubicBezTo>
                <a:cubicBezTo>
                  <a:pt x="7316" y="1267"/>
                  <a:pt x="7759" y="1837"/>
                  <a:pt x="8076" y="2534"/>
                </a:cubicBezTo>
                <a:cubicBezTo>
                  <a:pt x="7442" y="2977"/>
                  <a:pt x="6746" y="3199"/>
                  <a:pt x="5637" y="3231"/>
                </a:cubicBezTo>
                <a:lnTo>
                  <a:pt x="5637" y="729"/>
                </a:lnTo>
                <a:close/>
                <a:moveTo>
                  <a:pt x="8234" y="2851"/>
                </a:moveTo>
                <a:cubicBezTo>
                  <a:pt x="8519" y="3579"/>
                  <a:pt x="8677" y="4402"/>
                  <a:pt x="8709" y="5289"/>
                </a:cubicBezTo>
                <a:lnTo>
                  <a:pt x="5637" y="5289"/>
                </a:lnTo>
                <a:lnTo>
                  <a:pt x="5637" y="3579"/>
                </a:lnTo>
                <a:cubicBezTo>
                  <a:pt x="6777" y="3547"/>
                  <a:pt x="7569" y="3326"/>
                  <a:pt x="8234" y="2851"/>
                </a:cubicBezTo>
                <a:close/>
                <a:moveTo>
                  <a:pt x="8962" y="2249"/>
                </a:moveTo>
                <a:cubicBezTo>
                  <a:pt x="9691" y="3072"/>
                  <a:pt x="10166" y="4117"/>
                  <a:pt x="10229" y="5289"/>
                </a:cubicBezTo>
                <a:lnTo>
                  <a:pt x="9057" y="5289"/>
                </a:lnTo>
                <a:cubicBezTo>
                  <a:pt x="9026" y="4339"/>
                  <a:pt x="8836" y="3421"/>
                  <a:pt x="8519" y="2660"/>
                </a:cubicBezTo>
                <a:cubicBezTo>
                  <a:pt x="8677" y="2534"/>
                  <a:pt x="8804" y="2407"/>
                  <a:pt x="8962" y="2249"/>
                </a:cubicBezTo>
                <a:close/>
                <a:moveTo>
                  <a:pt x="1964" y="2280"/>
                </a:moveTo>
                <a:cubicBezTo>
                  <a:pt x="2090" y="2407"/>
                  <a:pt x="2249" y="2534"/>
                  <a:pt x="2407" y="2660"/>
                </a:cubicBezTo>
                <a:cubicBezTo>
                  <a:pt x="2090" y="3452"/>
                  <a:pt x="1869" y="4339"/>
                  <a:pt x="1869" y="5321"/>
                </a:cubicBezTo>
                <a:lnTo>
                  <a:pt x="697" y="5321"/>
                </a:lnTo>
                <a:cubicBezTo>
                  <a:pt x="760" y="4149"/>
                  <a:pt x="1204" y="3104"/>
                  <a:pt x="1964" y="2280"/>
                </a:cubicBezTo>
                <a:close/>
                <a:moveTo>
                  <a:pt x="2692" y="2882"/>
                </a:moveTo>
                <a:cubicBezTo>
                  <a:pt x="3357" y="3326"/>
                  <a:pt x="4117" y="3547"/>
                  <a:pt x="5289" y="3579"/>
                </a:cubicBezTo>
                <a:lnTo>
                  <a:pt x="5289" y="5321"/>
                </a:lnTo>
                <a:lnTo>
                  <a:pt x="2217" y="5321"/>
                </a:lnTo>
                <a:cubicBezTo>
                  <a:pt x="2249" y="4434"/>
                  <a:pt x="2407" y="3579"/>
                  <a:pt x="2692" y="2882"/>
                </a:cubicBezTo>
                <a:close/>
                <a:moveTo>
                  <a:pt x="8709" y="5637"/>
                </a:moveTo>
                <a:cubicBezTo>
                  <a:pt x="8709" y="6556"/>
                  <a:pt x="8519" y="7379"/>
                  <a:pt x="8234" y="8076"/>
                </a:cubicBezTo>
                <a:cubicBezTo>
                  <a:pt x="7569" y="7633"/>
                  <a:pt x="6809" y="7411"/>
                  <a:pt x="5637" y="7379"/>
                </a:cubicBezTo>
                <a:lnTo>
                  <a:pt x="5637" y="5669"/>
                </a:lnTo>
                <a:lnTo>
                  <a:pt x="8709" y="5637"/>
                </a:lnTo>
                <a:close/>
                <a:moveTo>
                  <a:pt x="5289" y="5669"/>
                </a:moveTo>
                <a:lnTo>
                  <a:pt x="5289" y="7379"/>
                </a:lnTo>
                <a:cubicBezTo>
                  <a:pt x="4149" y="7411"/>
                  <a:pt x="3389" y="7664"/>
                  <a:pt x="2692" y="8108"/>
                </a:cubicBezTo>
                <a:cubicBezTo>
                  <a:pt x="2407" y="7379"/>
                  <a:pt x="2249" y="6556"/>
                  <a:pt x="2217" y="5669"/>
                </a:cubicBezTo>
                <a:close/>
                <a:moveTo>
                  <a:pt x="10229" y="5637"/>
                </a:moveTo>
                <a:cubicBezTo>
                  <a:pt x="10166" y="6809"/>
                  <a:pt x="9723" y="7886"/>
                  <a:pt x="8994" y="8678"/>
                </a:cubicBezTo>
                <a:cubicBezTo>
                  <a:pt x="8836" y="8551"/>
                  <a:pt x="8677" y="8424"/>
                  <a:pt x="8519" y="8298"/>
                </a:cubicBezTo>
                <a:cubicBezTo>
                  <a:pt x="8867" y="7538"/>
                  <a:pt x="9057" y="6619"/>
                  <a:pt x="9057" y="5637"/>
                </a:cubicBezTo>
                <a:close/>
                <a:moveTo>
                  <a:pt x="1869" y="5669"/>
                </a:moveTo>
                <a:cubicBezTo>
                  <a:pt x="1900" y="6651"/>
                  <a:pt x="2090" y="7538"/>
                  <a:pt x="2407" y="8329"/>
                </a:cubicBezTo>
                <a:cubicBezTo>
                  <a:pt x="2280" y="8424"/>
                  <a:pt x="2122" y="8551"/>
                  <a:pt x="1964" y="8709"/>
                </a:cubicBezTo>
                <a:cubicBezTo>
                  <a:pt x="1235" y="7886"/>
                  <a:pt x="760" y="6841"/>
                  <a:pt x="729" y="5669"/>
                </a:cubicBezTo>
                <a:close/>
                <a:moveTo>
                  <a:pt x="8392" y="8646"/>
                </a:moveTo>
                <a:cubicBezTo>
                  <a:pt x="8487" y="8741"/>
                  <a:pt x="8614" y="8836"/>
                  <a:pt x="8741" y="8931"/>
                </a:cubicBezTo>
                <a:cubicBezTo>
                  <a:pt x="8424" y="9216"/>
                  <a:pt x="8107" y="9469"/>
                  <a:pt x="7727" y="9659"/>
                </a:cubicBezTo>
                <a:cubicBezTo>
                  <a:pt x="7981" y="9374"/>
                  <a:pt x="8202" y="9026"/>
                  <a:pt x="8392" y="8646"/>
                </a:cubicBezTo>
                <a:close/>
                <a:moveTo>
                  <a:pt x="2565" y="8646"/>
                </a:moveTo>
                <a:cubicBezTo>
                  <a:pt x="2755" y="9026"/>
                  <a:pt x="2977" y="9374"/>
                  <a:pt x="3230" y="9691"/>
                </a:cubicBezTo>
                <a:cubicBezTo>
                  <a:pt x="2850" y="9469"/>
                  <a:pt x="2534" y="9248"/>
                  <a:pt x="2217" y="8963"/>
                </a:cubicBezTo>
                <a:cubicBezTo>
                  <a:pt x="2344" y="8836"/>
                  <a:pt x="2439" y="8741"/>
                  <a:pt x="2565" y="8646"/>
                </a:cubicBezTo>
                <a:close/>
                <a:moveTo>
                  <a:pt x="5289" y="7728"/>
                </a:moveTo>
                <a:lnTo>
                  <a:pt x="5289" y="10229"/>
                </a:lnTo>
                <a:cubicBezTo>
                  <a:pt x="4909" y="10229"/>
                  <a:pt x="4497" y="10166"/>
                  <a:pt x="4149" y="10039"/>
                </a:cubicBezTo>
                <a:cubicBezTo>
                  <a:pt x="3610" y="9691"/>
                  <a:pt x="3167" y="9121"/>
                  <a:pt x="2850" y="8424"/>
                </a:cubicBezTo>
                <a:cubicBezTo>
                  <a:pt x="3484" y="7981"/>
                  <a:pt x="4180" y="7759"/>
                  <a:pt x="5289" y="7728"/>
                </a:cubicBezTo>
                <a:close/>
                <a:moveTo>
                  <a:pt x="5637" y="7728"/>
                </a:moveTo>
                <a:cubicBezTo>
                  <a:pt x="6746" y="7759"/>
                  <a:pt x="7474" y="7981"/>
                  <a:pt x="8107" y="8424"/>
                </a:cubicBezTo>
                <a:cubicBezTo>
                  <a:pt x="7759" y="9121"/>
                  <a:pt x="7347" y="9691"/>
                  <a:pt x="6809" y="10039"/>
                </a:cubicBezTo>
                <a:cubicBezTo>
                  <a:pt x="6461" y="10134"/>
                  <a:pt x="6049" y="10229"/>
                  <a:pt x="5669" y="10229"/>
                </a:cubicBezTo>
                <a:lnTo>
                  <a:pt x="5637" y="7728"/>
                </a:lnTo>
                <a:close/>
                <a:moveTo>
                  <a:pt x="5447" y="0"/>
                </a:moveTo>
                <a:cubicBezTo>
                  <a:pt x="2439" y="32"/>
                  <a:pt x="0" y="2470"/>
                  <a:pt x="0" y="5511"/>
                </a:cubicBezTo>
                <a:cubicBezTo>
                  <a:pt x="0" y="8519"/>
                  <a:pt x="2470" y="10958"/>
                  <a:pt x="5479" y="10958"/>
                </a:cubicBezTo>
                <a:cubicBezTo>
                  <a:pt x="8487" y="10958"/>
                  <a:pt x="10958" y="8488"/>
                  <a:pt x="10926" y="5479"/>
                </a:cubicBezTo>
                <a:cubicBezTo>
                  <a:pt x="10926" y="2439"/>
                  <a:pt x="8456" y="0"/>
                  <a:pt x="5447"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419" name="Google Shape;1419;p38"/>
          <p:cNvSpPr/>
          <p:nvPr/>
        </p:nvSpPr>
        <p:spPr>
          <a:xfrm>
            <a:off x="5050885" y="1696278"/>
            <a:ext cx="445667" cy="346134"/>
          </a:xfrm>
          <a:custGeom>
            <a:avLst/>
            <a:gdLst/>
            <a:ahLst/>
            <a:cxnLst/>
            <a:rect l="l" t="t" r="r" b="b"/>
            <a:pathLst>
              <a:path w="12479" h="9692" extrusionOk="0">
                <a:moveTo>
                  <a:pt x="9280" y="1014"/>
                </a:moveTo>
                <a:cubicBezTo>
                  <a:pt x="9153" y="1014"/>
                  <a:pt x="9027" y="1046"/>
                  <a:pt x="8900" y="1077"/>
                </a:cubicBezTo>
                <a:cubicBezTo>
                  <a:pt x="8805" y="1109"/>
                  <a:pt x="8742" y="1204"/>
                  <a:pt x="8773" y="1299"/>
                </a:cubicBezTo>
                <a:cubicBezTo>
                  <a:pt x="8805" y="1394"/>
                  <a:pt x="8900" y="1426"/>
                  <a:pt x="8995" y="1426"/>
                </a:cubicBezTo>
                <a:cubicBezTo>
                  <a:pt x="9090" y="1394"/>
                  <a:pt x="9185" y="1394"/>
                  <a:pt x="9280" y="1394"/>
                </a:cubicBezTo>
                <a:cubicBezTo>
                  <a:pt x="9660" y="1394"/>
                  <a:pt x="10008" y="1552"/>
                  <a:pt x="10262" y="1901"/>
                </a:cubicBezTo>
                <a:cubicBezTo>
                  <a:pt x="10547" y="2249"/>
                  <a:pt x="10705" y="2724"/>
                  <a:pt x="10705" y="3231"/>
                </a:cubicBezTo>
                <a:cubicBezTo>
                  <a:pt x="10705" y="3959"/>
                  <a:pt x="10357" y="4624"/>
                  <a:pt x="9850" y="4909"/>
                </a:cubicBezTo>
                <a:lnTo>
                  <a:pt x="9755" y="4973"/>
                </a:lnTo>
                <a:lnTo>
                  <a:pt x="9755" y="5068"/>
                </a:lnTo>
                <a:cubicBezTo>
                  <a:pt x="9787" y="5923"/>
                  <a:pt x="10452" y="6208"/>
                  <a:pt x="11022" y="6493"/>
                </a:cubicBezTo>
                <a:cubicBezTo>
                  <a:pt x="11560" y="6778"/>
                  <a:pt x="12067" y="6999"/>
                  <a:pt x="12099" y="7633"/>
                </a:cubicBezTo>
                <a:cubicBezTo>
                  <a:pt x="11718" y="7823"/>
                  <a:pt x="11307" y="7981"/>
                  <a:pt x="10800" y="8076"/>
                </a:cubicBezTo>
                <a:cubicBezTo>
                  <a:pt x="10705" y="8108"/>
                  <a:pt x="10642" y="8203"/>
                  <a:pt x="10673" y="8298"/>
                </a:cubicBezTo>
                <a:cubicBezTo>
                  <a:pt x="10699" y="8376"/>
                  <a:pt x="10768" y="8433"/>
                  <a:pt x="10845" y="8433"/>
                </a:cubicBezTo>
                <a:cubicBezTo>
                  <a:pt x="10861" y="8433"/>
                  <a:pt x="10878" y="8430"/>
                  <a:pt x="10895" y="8424"/>
                </a:cubicBezTo>
                <a:cubicBezTo>
                  <a:pt x="11433" y="8298"/>
                  <a:pt x="11940" y="8139"/>
                  <a:pt x="12384" y="7918"/>
                </a:cubicBezTo>
                <a:lnTo>
                  <a:pt x="12479" y="7854"/>
                </a:lnTo>
                <a:lnTo>
                  <a:pt x="12479" y="7759"/>
                </a:lnTo>
                <a:cubicBezTo>
                  <a:pt x="12447" y="6809"/>
                  <a:pt x="11782" y="6493"/>
                  <a:pt x="11180" y="6176"/>
                </a:cubicBezTo>
                <a:cubicBezTo>
                  <a:pt x="10642" y="5923"/>
                  <a:pt x="10198" y="5701"/>
                  <a:pt x="10135" y="5163"/>
                </a:cubicBezTo>
                <a:cubicBezTo>
                  <a:pt x="10705" y="4783"/>
                  <a:pt x="11053" y="4022"/>
                  <a:pt x="11053" y="3231"/>
                </a:cubicBezTo>
                <a:cubicBezTo>
                  <a:pt x="11053" y="2629"/>
                  <a:pt x="10863" y="2091"/>
                  <a:pt x="10547" y="1679"/>
                </a:cubicBezTo>
                <a:cubicBezTo>
                  <a:pt x="10198" y="1267"/>
                  <a:pt x="9755" y="1014"/>
                  <a:pt x="9280" y="1014"/>
                </a:cubicBezTo>
                <a:close/>
                <a:moveTo>
                  <a:pt x="3168" y="1046"/>
                </a:moveTo>
                <a:cubicBezTo>
                  <a:pt x="2661" y="1046"/>
                  <a:pt x="2218" y="1267"/>
                  <a:pt x="1901" y="1711"/>
                </a:cubicBezTo>
                <a:cubicBezTo>
                  <a:pt x="1553" y="2122"/>
                  <a:pt x="1394" y="2661"/>
                  <a:pt x="1394" y="3262"/>
                </a:cubicBezTo>
                <a:cubicBezTo>
                  <a:pt x="1394" y="4054"/>
                  <a:pt x="1743" y="4783"/>
                  <a:pt x="2313" y="5163"/>
                </a:cubicBezTo>
                <a:cubicBezTo>
                  <a:pt x="2281" y="5733"/>
                  <a:pt x="1806" y="5954"/>
                  <a:pt x="1299" y="6208"/>
                </a:cubicBezTo>
                <a:cubicBezTo>
                  <a:pt x="698" y="6493"/>
                  <a:pt x="1" y="6841"/>
                  <a:pt x="1" y="7791"/>
                </a:cubicBezTo>
                <a:lnTo>
                  <a:pt x="1" y="7886"/>
                </a:lnTo>
                <a:lnTo>
                  <a:pt x="96" y="7949"/>
                </a:lnTo>
                <a:cubicBezTo>
                  <a:pt x="539" y="8171"/>
                  <a:pt x="1046" y="8329"/>
                  <a:pt x="1584" y="8456"/>
                </a:cubicBezTo>
                <a:cubicBezTo>
                  <a:pt x="1679" y="8456"/>
                  <a:pt x="1774" y="8393"/>
                  <a:pt x="1806" y="8298"/>
                </a:cubicBezTo>
                <a:cubicBezTo>
                  <a:pt x="1806" y="8203"/>
                  <a:pt x="1774" y="8139"/>
                  <a:pt x="1679" y="8108"/>
                </a:cubicBezTo>
                <a:cubicBezTo>
                  <a:pt x="1173" y="8013"/>
                  <a:pt x="761" y="7854"/>
                  <a:pt x="381" y="7664"/>
                </a:cubicBezTo>
                <a:cubicBezTo>
                  <a:pt x="413" y="7031"/>
                  <a:pt x="888" y="6809"/>
                  <a:pt x="1458" y="6524"/>
                </a:cubicBezTo>
                <a:cubicBezTo>
                  <a:pt x="2028" y="6239"/>
                  <a:pt x="2661" y="5923"/>
                  <a:pt x="2693" y="5099"/>
                </a:cubicBezTo>
                <a:lnTo>
                  <a:pt x="2693" y="4973"/>
                </a:lnTo>
                <a:lnTo>
                  <a:pt x="2598" y="4941"/>
                </a:lnTo>
                <a:cubicBezTo>
                  <a:pt x="2091" y="4624"/>
                  <a:pt x="1743" y="3991"/>
                  <a:pt x="1743" y="3231"/>
                </a:cubicBezTo>
                <a:cubicBezTo>
                  <a:pt x="1743" y="2756"/>
                  <a:pt x="1901" y="2281"/>
                  <a:pt x="2154" y="1932"/>
                </a:cubicBezTo>
                <a:cubicBezTo>
                  <a:pt x="2439" y="1584"/>
                  <a:pt x="2788" y="1394"/>
                  <a:pt x="3168" y="1394"/>
                </a:cubicBezTo>
                <a:cubicBezTo>
                  <a:pt x="3263" y="1394"/>
                  <a:pt x="3358" y="1426"/>
                  <a:pt x="3421" y="1426"/>
                </a:cubicBezTo>
                <a:cubicBezTo>
                  <a:pt x="3438" y="1431"/>
                  <a:pt x="3455" y="1434"/>
                  <a:pt x="3471" y="1434"/>
                </a:cubicBezTo>
                <a:cubicBezTo>
                  <a:pt x="3548" y="1434"/>
                  <a:pt x="3617" y="1377"/>
                  <a:pt x="3643" y="1299"/>
                </a:cubicBezTo>
                <a:cubicBezTo>
                  <a:pt x="3675" y="1204"/>
                  <a:pt x="3611" y="1109"/>
                  <a:pt x="3516" y="1077"/>
                </a:cubicBezTo>
                <a:cubicBezTo>
                  <a:pt x="3390" y="1046"/>
                  <a:pt x="3295" y="1046"/>
                  <a:pt x="3168" y="1046"/>
                </a:cubicBezTo>
                <a:close/>
                <a:moveTo>
                  <a:pt x="6240" y="697"/>
                </a:moveTo>
                <a:cubicBezTo>
                  <a:pt x="6651" y="697"/>
                  <a:pt x="7063" y="919"/>
                  <a:pt x="7380" y="1299"/>
                </a:cubicBezTo>
                <a:cubicBezTo>
                  <a:pt x="7697" y="1711"/>
                  <a:pt x="7887" y="2281"/>
                  <a:pt x="7887" y="2882"/>
                </a:cubicBezTo>
                <a:cubicBezTo>
                  <a:pt x="7887" y="3737"/>
                  <a:pt x="7506" y="4529"/>
                  <a:pt x="6905" y="4878"/>
                </a:cubicBezTo>
                <a:lnTo>
                  <a:pt x="6715" y="4973"/>
                </a:lnTo>
                <a:lnTo>
                  <a:pt x="6715" y="5194"/>
                </a:lnTo>
                <a:cubicBezTo>
                  <a:pt x="6746" y="6303"/>
                  <a:pt x="7633" y="6746"/>
                  <a:pt x="8330" y="7094"/>
                </a:cubicBezTo>
                <a:cubicBezTo>
                  <a:pt x="9058" y="7443"/>
                  <a:pt x="9533" y="7696"/>
                  <a:pt x="9628" y="8298"/>
                </a:cubicBezTo>
                <a:cubicBezTo>
                  <a:pt x="8583" y="8741"/>
                  <a:pt x="7348" y="8963"/>
                  <a:pt x="6271" y="8995"/>
                </a:cubicBezTo>
                <a:cubicBezTo>
                  <a:pt x="5353" y="8995"/>
                  <a:pt x="4055" y="8868"/>
                  <a:pt x="2914" y="8329"/>
                </a:cubicBezTo>
                <a:cubicBezTo>
                  <a:pt x="2978" y="7728"/>
                  <a:pt x="3453" y="7443"/>
                  <a:pt x="4181" y="7094"/>
                </a:cubicBezTo>
                <a:cubicBezTo>
                  <a:pt x="4878" y="6746"/>
                  <a:pt x="5765" y="6303"/>
                  <a:pt x="5796" y="5194"/>
                </a:cubicBezTo>
                <a:lnTo>
                  <a:pt x="5796" y="4973"/>
                </a:lnTo>
                <a:lnTo>
                  <a:pt x="5606" y="4878"/>
                </a:lnTo>
                <a:cubicBezTo>
                  <a:pt x="5005" y="4529"/>
                  <a:pt x="4625" y="3737"/>
                  <a:pt x="4625" y="2882"/>
                </a:cubicBezTo>
                <a:cubicBezTo>
                  <a:pt x="4593" y="1679"/>
                  <a:pt x="5353" y="697"/>
                  <a:pt x="6240" y="697"/>
                </a:cubicBezTo>
                <a:close/>
                <a:moveTo>
                  <a:pt x="6240" y="1"/>
                </a:moveTo>
                <a:cubicBezTo>
                  <a:pt x="4941" y="1"/>
                  <a:pt x="3896" y="1299"/>
                  <a:pt x="3896" y="2882"/>
                </a:cubicBezTo>
                <a:cubicBezTo>
                  <a:pt x="3896" y="3896"/>
                  <a:pt x="4340" y="4846"/>
                  <a:pt x="5068" y="5353"/>
                </a:cubicBezTo>
                <a:cubicBezTo>
                  <a:pt x="4973" y="5891"/>
                  <a:pt x="4530" y="6113"/>
                  <a:pt x="3865" y="6461"/>
                </a:cubicBezTo>
                <a:cubicBezTo>
                  <a:pt x="3104" y="6809"/>
                  <a:pt x="2186" y="7284"/>
                  <a:pt x="2186" y="8551"/>
                </a:cubicBezTo>
                <a:lnTo>
                  <a:pt x="2186" y="8741"/>
                </a:lnTo>
                <a:lnTo>
                  <a:pt x="2376" y="8868"/>
                </a:lnTo>
                <a:cubicBezTo>
                  <a:pt x="3706" y="9533"/>
                  <a:pt x="5226" y="9691"/>
                  <a:pt x="6271" y="9691"/>
                </a:cubicBezTo>
                <a:cubicBezTo>
                  <a:pt x="7538" y="9691"/>
                  <a:pt x="8963" y="9375"/>
                  <a:pt x="10135" y="8836"/>
                </a:cubicBezTo>
                <a:lnTo>
                  <a:pt x="10357" y="8741"/>
                </a:lnTo>
                <a:lnTo>
                  <a:pt x="10357" y="8519"/>
                </a:lnTo>
                <a:cubicBezTo>
                  <a:pt x="10357" y="7253"/>
                  <a:pt x="9407" y="6809"/>
                  <a:pt x="8647" y="6429"/>
                </a:cubicBezTo>
                <a:cubicBezTo>
                  <a:pt x="7982" y="6113"/>
                  <a:pt x="7538" y="5891"/>
                  <a:pt x="7443" y="5353"/>
                </a:cubicBezTo>
                <a:cubicBezTo>
                  <a:pt x="8140" y="4846"/>
                  <a:pt x="8583" y="3896"/>
                  <a:pt x="8583" y="2882"/>
                </a:cubicBezTo>
                <a:cubicBezTo>
                  <a:pt x="8583" y="2122"/>
                  <a:pt x="8362" y="1394"/>
                  <a:pt x="7918" y="856"/>
                </a:cubicBezTo>
                <a:cubicBezTo>
                  <a:pt x="7475" y="317"/>
                  <a:pt x="6873" y="1"/>
                  <a:pt x="6240"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420" name="Google Shape;1420;p38"/>
          <p:cNvSpPr/>
          <p:nvPr/>
        </p:nvSpPr>
        <p:spPr>
          <a:xfrm>
            <a:off x="7998305" y="2894855"/>
            <a:ext cx="341599" cy="449345"/>
          </a:xfrm>
          <a:custGeom>
            <a:avLst/>
            <a:gdLst/>
            <a:ahLst/>
            <a:cxnLst/>
            <a:rect l="l" t="t" r="r" b="b"/>
            <a:pathLst>
              <a:path w="9565" h="12582" extrusionOk="0">
                <a:moveTo>
                  <a:pt x="4783" y="800"/>
                </a:moveTo>
                <a:lnTo>
                  <a:pt x="8615" y="3999"/>
                </a:lnTo>
                <a:lnTo>
                  <a:pt x="4783" y="7229"/>
                </a:lnTo>
                <a:lnTo>
                  <a:pt x="951" y="4031"/>
                </a:lnTo>
                <a:lnTo>
                  <a:pt x="4783" y="800"/>
                </a:lnTo>
                <a:close/>
                <a:moveTo>
                  <a:pt x="4783" y="1"/>
                </a:moveTo>
                <a:cubicBezTo>
                  <a:pt x="4703" y="1"/>
                  <a:pt x="4624" y="24"/>
                  <a:pt x="4561" y="72"/>
                </a:cubicBezTo>
                <a:lnTo>
                  <a:pt x="4529" y="72"/>
                </a:lnTo>
                <a:lnTo>
                  <a:pt x="159" y="3745"/>
                </a:lnTo>
                <a:lnTo>
                  <a:pt x="159" y="3777"/>
                </a:lnTo>
                <a:lnTo>
                  <a:pt x="127" y="3809"/>
                </a:lnTo>
                <a:cubicBezTo>
                  <a:pt x="1" y="3936"/>
                  <a:pt x="32" y="4157"/>
                  <a:pt x="159" y="4284"/>
                </a:cubicBezTo>
                <a:lnTo>
                  <a:pt x="4561" y="7957"/>
                </a:lnTo>
                <a:cubicBezTo>
                  <a:pt x="4624" y="8005"/>
                  <a:pt x="4703" y="8029"/>
                  <a:pt x="4787" y="8029"/>
                </a:cubicBezTo>
                <a:cubicBezTo>
                  <a:pt x="4870" y="8029"/>
                  <a:pt x="4957" y="8005"/>
                  <a:pt x="5036" y="7957"/>
                </a:cubicBezTo>
                <a:lnTo>
                  <a:pt x="9406" y="4284"/>
                </a:lnTo>
                <a:lnTo>
                  <a:pt x="9406" y="4252"/>
                </a:lnTo>
                <a:cubicBezTo>
                  <a:pt x="9438" y="4252"/>
                  <a:pt x="9438" y="4252"/>
                  <a:pt x="9438" y="4221"/>
                </a:cubicBezTo>
                <a:cubicBezTo>
                  <a:pt x="9565" y="4094"/>
                  <a:pt x="9565" y="3840"/>
                  <a:pt x="9406" y="3714"/>
                </a:cubicBezTo>
                <a:lnTo>
                  <a:pt x="5004" y="72"/>
                </a:lnTo>
                <a:cubicBezTo>
                  <a:pt x="4941" y="24"/>
                  <a:pt x="4862" y="1"/>
                  <a:pt x="4783" y="1"/>
                </a:cubicBezTo>
                <a:close/>
                <a:moveTo>
                  <a:pt x="9185" y="5076"/>
                </a:moveTo>
                <a:cubicBezTo>
                  <a:pt x="8963" y="5076"/>
                  <a:pt x="8805" y="5234"/>
                  <a:pt x="8805" y="5456"/>
                </a:cubicBezTo>
                <a:lnTo>
                  <a:pt x="8836" y="8369"/>
                </a:lnTo>
                <a:lnTo>
                  <a:pt x="5163" y="11441"/>
                </a:lnTo>
                <a:lnTo>
                  <a:pt x="5163" y="8939"/>
                </a:lnTo>
                <a:cubicBezTo>
                  <a:pt x="5163" y="8749"/>
                  <a:pt x="4973" y="8591"/>
                  <a:pt x="4783" y="8591"/>
                </a:cubicBezTo>
                <a:cubicBezTo>
                  <a:pt x="4593" y="8591"/>
                  <a:pt x="4434" y="8749"/>
                  <a:pt x="4434" y="8939"/>
                </a:cubicBezTo>
                <a:lnTo>
                  <a:pt x="4434" y="11441"/>
                </a:lnTo>
                <a:lnTo>
                  <a:pt x="761" y="8401"/>
                </a:lnTo>
                <a:lnTo>
                  <a:pt x="761" y="5456"/>
                </a:lnTo>
                <a:cubicBezTo>
                  <a:pt x="761" y="5266"/>
                  <a:pt x="602" y="5107"/>
                  <a:pt x="381" y="5107"/>
                </a:cubicBezTo>
                <a:cubicBezTo>
                  <a:pt x="191" y="5107"/>
                  <a:pt x="32" y="5266"/>
                  <a:pt x="32" y="5456"/>
                </a:cubicBezTo>
                <a:lnTo>
                  <a:pt x="32" y="8559"/>
                </a:lnTo>
                <a:cubicBezTo>
                  <a:pt x="32" y="8591"/>
                  <a:pt x="64" y="8591"/>
                  <a:pt x="64" y="8623"/>
                </a:cubicBezTo>
                <a:cubicBezTo>
                  <a:pt x="64" y="8623"/>
                  <a:pt x="64" y="8623"/>
                  <a:pt x="64" y="8654"/>
                </a:cubicBezTo>
                <a:lnTo>
                  <a:pt x="64" y="8686"/>
                </a:lnTo>
                <a:cubicBezTo>
                  <a:pt x="64" y="8686"/>
                  <a:pt x="64" y="8686"/>
                  <a:pt x="96" y="8718"/>
                </a:cubicBezTo>
                <a:cubicBezTo>
                  <a:pt x="96" y="8718"/>
                  <a:pt x="96" y="8718"/>
                  <a:pt x="96" y="8749"/>
                </a:cubicBezTo>
                <a:cubicBezTo>
                  <a:pt x="96" y="8749"/>
                  <a:pt x="96" y="8749"/>
                  <a:pt x="127" y="8781"/>
                </a:cubicBezTo>
                <a:cubicBezTo>
                  <a:pt x="159" y="8813"/>
                  <a:pt x="159" y="8813"/>
                  <a:pt x="159" y="8813"/>
                </a:cubicBezTo>
                <a:lnTo>
                  <a:pt x="191" y="8844"/>
                </a:lnTo>
                <a:lnTo>
                  <a:pt x="4561" y="12486"/>
                </a:lnTo>
                <a:lnTo>
                  <a:pt x="4593" y="12486"/>
                </a:lnTo>
                <a:lnTo>
                  <a:pt x="4624" y="12518"/>
                </a:lnTo>
                <a:cubicBezTo>
                  <a:pt x="4656" y="12518"/>
                  <a:pt x="4656" y="12549"/>
                  <a:pt x="4688" y="12549"/>
                </a:cubicBezTo>
                <a:lnTo>
                  <a:pt x="4719" y="12549"/>
                </a:lnTo>
                <a:cubicBezTo>
                  <a:pt x="4719" y="12549"/>
                  <a:pt x="4719" y="12549"/>
                  <a:pt x="4719" y="12581"/>
                </a:cubicBezTo>
                <a:lnTo>
                  <a:pt x="4878" y="12581"/>
                </a:lnTo>
                <a:cubicBezTo>
                  <a:pt x="4878" y="12549"/>
                  <a:pt x="4909" y="12549"/>
                  <a:pt x="4909" y="12549"/>
                </a:cubicBezTo>
                <a:lnTo>
                  <a:pt x="4941" y="12549"/>
                </a:lnTo>
                <a:cubicBezTo>
                  <a:pt x="4941" y="12549"/>
                  <a:pt x="4973" y="12549"/>
                  <a:pt x="4973" y="12518"/>
                </a:cubicBezTo>
                <a:lnTo>
                  <a:pt x="5004" y="12518"/>
                </a:lnTo>
                <a:lnTo>
                  <a:pt x="5036" y="12486"/>
                </a:lnTo>
                <a:lnTo>
                  <a:pt x="9406" y="8813"/>
                </a:lnTo>
                <a:lnTo>
                  <a:pt x="9438" y="8813"/>
                </a:lnTo>
                <a:cubicBezTo>
                  <a:pt x="9438" y="8781"/>
                  <a:pt x="9438" y="8781"/>
                  <a:pt x="9438" y="8781"/>
                </a:cubicBezTo>
                <a:cubicBezTo>
                  <a:pt x="9470" y="8749"/>
                  <a:pt x="9470" y="8749"/>
                  <a:pt x="9470" y="8749"/>
                </a:cubicBezTo>
                <a:cubicBezTo>
                  <a:pt x="9470" y="8749"/>
                  <a:pt x="9470" y="8718"/>
                  <a:pt x="9501" y="8718"/>
                </a:cubicBezTo>
                <a:cubicBezTo>
                  <a:pt x="9501" y="8718"/>
                  <a:pt x="9501" y="8686"/>
                  <a:pt x="9501" y="8686"/>
                </a:cubicBezTo>
                <a:cubicBezTo>
                  <a:pt x="9501" y="8686"/>
                  <a:pt x="9501" y="8654"/>
                  <a:pt x="9533" y="8654"/>
                </a:cubicBezTo>
                <a:lnTo>
                  <a:pt x="9533" y="8623"/>
                </a:lnTo>
                <a:cubicBezTo>
                  <a:pt x="9533" y="8591"/>
                  <a:pt x="9533" y="8591"/>
                  <a:pt x="9533" y="8591"/>
                </a:cubicBezTo>
                <a:cubicBezTo>
                  <a:pt x="9533" y="8559"/>
                  <a:pt x="9533" y="8559"/>
                  <a:pt x="9533" y="8559"/>
                </a:cubicBezTo>
                <a:lnTo>
                  <a:pt x="9533" y="8527"/>
                </a:lnTo>
                <a:lnTo>
                  <a:pt x="9533" y="5424"/>
                </a:lnTo>
                <a:cubicBezTo>
                  <a:pt x="9533" y="5234"/>
                  <a:pt x="9375" y="5076"/>
                  <a:pt x="9185" y="5076"/>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421" name="Google Shape;1421;p38"/>
          <p:cNvSpPr/>
          <p:nvPr/>
        </p:nvSpPr>
        <p:spPr>
          <a:xfrm>
            <a:off x="3835059" y="4575811"/>
            <a:ext cx="371027" cy="372133"/>
          </a:xfrm>
          <a:custGeom>
            <a:avLst/>
            <a:gdLst/>
            <a:ahLst/>
            <a:cxnLst/>
            <a:rect l="l" t="t" r="r" b="b"/>
            <a:pathLst>
              <a:path w="10389" h="10420" extrusionOk="0">
                <a:moveTo>
                  <a:pt x="8646" y="1"/>
                </a:moveTo>
                <a:cubicBezTo>
                  <a:pt x="8171" y="1"/>
                  <a:pt x="7728" y="191"/>
                  <a:pt x="7411" y="507"/>
                </a:cubicBezTo>
                <a:lnTo>
                  <a:pt x="5733" y="2186"/>
                </a:lnTo>
                <a:cubicBezTo>
                  <a:pt x="5448" y="2471"/>
                  <a:pt x="5289" y="2819"/>
                  <a:pt x="5226" y="3231"/>
                </a:cubicBezTo>
                <a:cubicBezTo>
                  <a:pt x="5194" y="3421"/>
                  <a:pt x="5353" y="3579"/>
                  <a:pt x="5543" y="3611"/>
                </a:cubicBezTo>
                <a:cubicBezTo>
                  <a:pt x="5559" y="3614"/>
                  <a:pt x="5576" y="3615"/>
                  <a:pt x="5592" y="3615"/>
                </a:cubicBezTo>
                <a:cubicBezTo>
                  <a:pt x="5764" y="3615"/>
                  <a:pt x="5923" y="3468"/>
                  <a:pt x="5923" y="3294"/>
                </a:cubicBezTo>
                <a:cubicBezTo>
                  <a:pt x="5954" y="3072"/>
                  <a:pt x="6081" y="2851"/>
                  <a:pt x="6239" y="2692"/>
                </a:cubicBezTo>
                <a:lnTo>
                  <a:pt x="7918" y="1014"/>
                </a:lnTo>
                <a:cubicBezTo>
                  <a:pt x="8108" y="824"/>
                  <a:pt x="8361" y="697"/>
                  <a:pt x="8646" y="697"/>
                </a:cubicBezTo>
                <a:cubicBezTo>
                  <a:pt x="8900" y="697"/>
                  <a:pt x="9153" y="824"/>
                  <a:pt x="9375" y="1014"/>
                </a:cubicBezTo>
                <a:cubicBezTo>
                  <a:pt x="9565" y="1204"/>
                  <a:pt x="9660" y="1457"/>
                  <a:pt x="9660" y="1742"/>
                </a:cubicBezTo>
                <a:cubicBezTo>
                  <a:pt x="9660" y="2027"/>
                  <a:pt x="9565" y="2281"/>
                  <a:pt x="9375" y="2471"/>
                </a:cubicBezTo>
                <a:lnTo>
                  <a:pt x="7696" y="4149"/>
                </a:lnTo>
                <a:cubicBezTo>
                  <a:pt x="7538" y="4308"/>
                  <a:pt x="7316" y="4434"/>
                  <a:pt x="7095" y="4434"/>
                </a:cubicBezTo>
                <a:cubicBezTo>
                  <a:pt x="6905" y="4466"/>
                  <a:pt x="6746" y="4656"/>
                  <a:pt x="6778" y="4846"/>
                </a:cubicBezTo>
                <a:cubicBezTo>
                  <a:pt x="6810" y="5036"/>
                  <a:pt x="7000" y="5163"/>
                  <a:pt x="7190" y="5163"/>
                </a:cubicBezTo>
                <a:cubicBezTo>
                  <a:pt x="7570" y="5099"/>
                  <a:pt x="7918" y="4941"/>
                  <a:pt x="8203" y="4656"/>
                </a:cubicBezTo>
                <a:lnTo>
                  <a:pt x="9881" y="2977"/>
                </a:lnTo>
                <a:cubicBezTo>
                  <a:pt x="10198" y="2629"/>
                  <a:pt x="10388" y="2186"/>
                  <a:pt x="10388" y="1742"/>
                </a:cubicBezTo>
                <a:cubicBezTo>
                  <a:pt x="10388" y="1267"/>
                  <a:pt x="10198" y="824"/>
                  <a:pt x="9881" y="507"/>
                </a:cubicBezTo>
                <a:cubicBezTo>
                  <a:pt x="9533" y="159"/>
                  <a:pt x="9090" y="1"/>
                  <a:pt x="8646" y="1"/>
                </a:cubicBezTo>
                <a:close/>
                <a:moveTo>
                  <a:pt x="6734" y="3294"/>
                </a:moveTo>
                <a:cubicBezTo>
                  <a:pt x="6643" y="3294"/>
                  <a:pt x="6556" y="3326"/>
                  <a:pt x="6493" y="3389"/>
                </a:cubicBezTo>
                <a:lnTo>
                  <a:pt x="3389" y="6524"/>
                </a:lnTo>
                <a:cubicBezTo>
                  <a:pt x="3231" y="6651"/>
                  <a:pt x="3231" y="6873"/>
                  <a:pt x="3389" y="7031"/>
                </a:cubicBezTo>
                <a:cubicBezTo>
                  <a:pt x="3453" y="7094"/>
                  <a:pt x="3540" y="7126"/>
                  <a:pt x="3631" y="7126"/>
                </a:cubicBezTo>
                <a:cubicBezTo>
                  <a:pt x="3722" y="7126"/>
                  <a:pt x="3817" y="7094"/>
                  <a:pt x="3896" y="7031"/>
                </a:cubicBezTo>
                <a:lnTo>
                  <a:pt x="7000" y="3896"/>
                </a:lnTo>
                <a:cubicBezTo>
                  <a:pt x="7126" y="3769"/>
                  <a:pt x="7126" y="3547"/>
                  <a:pt x="7000" y="3389"/>
                </a:cubicBezTo>
                <a:cubicBezTo>
                  <a:pt x="6920" y="3326"/>
                  <a:pt x="6825" y="3294"/>
                  <a:pt x="6734" y="3294"/>
                </a:cubicBezTo>
                <a:close/>
                <a:moveTo>
                  <a:pt x="3248" y="5254"/>
                </a:moveTo>
                <a:cubicBezTo>
                  <a:pt x="3232" y="5254"/>
                  <a:pt x="3216" y="5255"/>
                  <a:pt x="3199" y="5258"/>
                </a:cubicBezTo>
                <a:cubicBezTo>
                  <a:pt x="2788" y="5321"/>
                  <a:pt x="2439" y="5479"/>
                  <a:pt x="2154" y="5764"/>
                </a:cubicBezTo>
                <a:lnTo>
                  <a:pt x="507" y="7443"/>
                </a:lnTo>
                <a:cubicBezTo>
                  <a:pt x="159" y="7759"/>
                  <a:pt x="1" y="8203"/>
                  <a:pt x="1" y="8678"/>
                </a:cubicBezTo>
                <a:cubicBezTo>
                  <a:pt x="1" y="9153"/>
                  <a:pt x="159" y="9565"/>
                  <a:pt x="507" y="9913"/>
                </a:cubicBezTo>
                <a:cubicBezTo>
                  <a:pt x="824" y="10230"/>
                  <a:pt x="1267" y="10420"/>
                  <a:pt x="1742" y="10420"/>
                </a:cubicBezTo>
                <a:cubicBezTo>
                  <a:pt x="2218" y="10420"/>
                  <a:pt x="2629" y="10230"/>
                  <a:pt x="2978" y="9913"/>
                </a:cubicBezTo>
                <a:lnTo>
                  <a:pt x="4656" y="8203"/>
                </a:lnTo>
                <a:cubicBezTo>
                  <a:pt x="4909" y="7949"/>
                  <a:pt x="5099" y="7569"/>
                  <a:pt x="5131" y="7189"/>
                </a:cubicBezTo>
                <a:cubicBezTo>
                  <a:pt x="5163" y="6999"/>
                  <a:pt x="5036" y="6809"/>
                  <a:pt x="4846" y="6809"/>
                </a:cubicBezTo>
                <a:cubicBezTo>
                  <a:pt x="4823" y="6806"/>
                  <a:pt x="4801" y="6805"/>
                  <a:pt x="4780" y="6805"/>
                </a:cubicBezTo>
                <a:cubicBezTo>
                  <a:pt x="4593" y="6805"/>
                  <a:pt x="4463" y="6927"/>
                  <a:pt x="4434" y="7126"/>
                </a:cubicBezTo>
                <a:cubicBezTo>
                  <a:pt x="4403" y="7348"/>
                  <a:pt x="4308" y="7538"/>
                  <a:pt x="4149" y="7728"/>
                </a:cubicBezTo>
                <a:lnTo>
                  <a:pt x="2471" y="9406"/>
                </a:lnTo>
                <a:cubicBezTo>
                  <a:pt x="2281" y="9596"/>
                  <a:pt x="2028" y="9691"/>
                  <a:pt x="1742" y="9691"/>
                </a:cubicBezTo>
                <a:cubicBezTo>
                  <a:pt x="1457" y="9691"/>
                  <a:pt x="1204" y="9596"/>
                  <a:pt x="1014" y="9406"/>
                </a:cubicBezTo>
                <a:cubicBezTo>
                  <a:pt x="824" y="9216"/>
                  <a:pt x="697" y="8963"/>
                  <a:pt x="697" y="8678"/>
                </a:cubicBezTo>
                <a:cubicBezTo>
                  <a:pt x="697" y="8393"/>
                  <a:pt x="824" y="8139"/>
                  <a:pt x="1014" y="7949"/>
                </a:cubicBezTo>
                <a:lnTo>
                  <a:pt x="2661" y="6271"/>
                </a:lnTo>
                <a:cubicBezTo>
                  <a:pt x="2851" y="6081"/>
                  <a:pt x="3041" y="5986"/>
                  <a:pt x="3294" y="5954"/>
                </a:cubicBezTo>
                <a:cubicBezTo>
                  <a:pt x="3484" y="5923"/>
                  <a:pt x="3611" y="5764"/>
                  <a:pt x="3579" y="5574"/>
                </a:cubicBezTo>
                <a:cubicBezTo>
                  <a:pt x="3579" y="5401"/>
                  <a:pt x="3421" y="5254"/>
                  <a:pt x="3248" y="5254"/>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422" name="Google Shape;1422;p38"/>
          <p:cNvSpPr/>
          <p:nvPr/>
        </p:nvSpPr>
        <p:spPr>
          <a:xfrm>
            <a:off x="5436590" y="2830676"/>
            <a:ext cx="2309545" cy="1097114"/>
          </a:xfrm>
          <a:custGeom>
            <a:avLst/>
            <a:gdLst/>
            <a:ahLst/>
            <a:cxnLst/>
            <a:rect l="l" t="t" r="r" b="b"/>
            <a:pathLst>
              <a:path w="64669" h="30720" extrusionOk="0">
                <a:moveTo>
                  <a:pt x="52507" y="0"/>
                </a:moveTo>
                <a:lnTo>
                  <a:pt x="52507" y="2566"/>
                </a:lnTo>
                <a:lnTo>
                  <a:pt x="20395" y="2661"/>
                </a:lnTo>
                <a:lnTo>
                  <a:pt x="18400" y="2661"/>
                </a:lnTo>
                <a:cubicBezTo>
                  <a:pt x="11369" y="2661"/>
                  <a:pt x="4972" y="5257"/>
                  <a:pt x="32" y="9533"/>
                </a:cubicBezTo>
                <a:lnTo>
                  <a:pt x="0" y="9564"/>
                </a:lnTo>
                <a:lnTo>
                  <a:pt x="63" y="30719"/>
                </a:lnTo>
                <a:cubicBezTo>
                  <a:pt x="32" y="20617"/>
                  <a:pt x="8234" y="12383"/>
                  <a:pt x="18336" y="12351"/>
                </a:cubicBezTo>
                <a:lnTo>
                  <a:pt x="39523" y="12288"/>
                </a:lnTo>
                <a:lnTo>
                  <a:pt x="52539" y="12256"/>
                </a:lnTo>
                <a:lnTo>
                  <a:pt x="52539" y="14821"/>
                </a:lnTo>
                <a:lnTo>
                  <a:pt x="64668" y="7379"/>
                </a:lnTo>
                <a:lnTo>
                  <a:pt x="52507"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23" name="Google Shape;1423;p38"/>
          <p:cNvSpPr/>
          <p:nvPr/>
        </p:nvSpPr>
        <p:spPr>
          <a:xfrm>
            <a:off x="6092571" y="3269486"/>
            <a:ext cx="1095971" cy="2309546"/>
          </a:xfrm>
          <a:custGeom>
            <a:avLst/>
            <a:gdLst/>
            <a:ahLst/>
            <a:cxnLst/>
            <a:rect l="l" t="t" r="r" b="b"/>
            <a:pathLst>
              <a:path w="30688" h="64669" extrusionOk="0">
                <a:moveTo>
                  <a:pt x="5" y="64"/>
                </a:moveTo>
                <a:cubicBezTo>
                  <a:pt x="4" y="64"/>
                  <a:pt x="2" y="64"/>
                  <a:pt x="0" y="64"/>
                </a:cubicBezTo>
                <a:lnTo>
                  <a:pt x="5" y="64"/>
                </a:lnTo>
                <a:close/>
                <a:moveTo>
                  <a:pt x="21155" y="1"/>
                </a:moveTo>
                <a:lnTo>
                  <a:pt x="5" y="64"/>
                </a:lnTo>
                <a:lnTo>
                  <a:pt x="5" y="64"/>
                </a:lnTo>
                <a:cubicBezTo>
                  <a:pt x="23" y="64"/>
                  <a:pt x="41" y="64"/>
                  <a:pt x="58" y="64"/>
                </a:cubicBezTo>
                <a:cubicBezTo>
                  <a:pt x="10134" y="64"/>
                  <a:pt x="18337" y="8254"/>
                  <a:pt x="18368" y="18337"/>
                </a:cubicBezTo>
                <a:lnTo>
                  <a:pt x="18432" y="39524"/>
                </a:lnTo>
                <a:lnTo>
                  <a:pt x="18463" y="52540"/>
                </a:lnTo>
                <a:lnTo>
                  <a:pt x="15898" y="52540"/>
                </a:lnTo>
                <a:lnTo>
                  <a:pt x="23340" y="64669"/>
                </a:lnTo>
                <a:lnTo>
                  <a:pt x="30687" y="52508"/>
                </a:lnTo>
                <a:lnTo>
                  <a:pt x="28154" y="52508"/>
                </a:lnTo>
                <a:lnTo>
                  <a:pt x="28059" y="20396"/>
                </a:lnTo>
                <a:cubicBezTo>
                  <a:pt x="28059" y="20396"/>
                  <a:pt x="28027" y="18812"/>
                  <a:pt x="28027" y="18401"/>
                </a:cubicBezTo>
                <a:cubicBezTo>
                  <a:pt x="28027" y="17957"/>
                  <a:pt x="28027" y="17514"/>
                  <a:pt x="27996" y="17102"/>
                </a:cubicBezTo>
                <a:cubicBezTo>
                  <a:pt x="27996" y="16912"/>
                  <a:pt x="27996" y="16722"/>
                  <a:pt x="27964" y="16532"/>
                </a:cubicBezTo>
                <a:cubicBezTo>
                  <a:pt x="27964" y="16279"/>
                  <a:pt x="27932" y="16025"/>
                  <a:pt x="27932" y="15804"/>
                </a:cubicBezTo>
                <a:cubicBezTo>
                  <a:pt x="27901" y="15550"/>
                  <a:pt x="27869" y="15297"/>
                  <a:pt x="27837" y="15075"/>
                </a:cubicBezTo>
                <a:cubicBezTo>
                  <a:pt x="27806" y="14885"/>
                  <a:pt x="27806" y="14695"/>
                  <a:pt x="27774" y="14505"/>
                </a:cubicBezTo>
                <a:cubicBezTo>
                  <a:pt x="27742" y="14220"/>
                  <a:pt x="27679" y="13935"/>
                  <a:pt x="27647" y="13650"/>
                </a:cubicBezTo>
                <a:cubicBezTo>
                  <a:pt x="27616" y="13524"/>
                  <a:pt x="27584" y="13365"/>
                  <a:pt x="27584" y="13239"/>
                </a:cubicBezTo>
                <a:cubicBezTo>
                  <a:pt x="27521" y="12922"/>
                  <a:pt x="27426" y="12605"/>
                  <a:pt x="27362" y="12320"/>
                </a:cubicBezTo>
                <a:cubicBezTo>
                  <a:pt x="27362" y="12193"/>
                  <a:pt x="27331" y="12098"/>
                  <a:pt x="27299" y="12003"/>
                </a:cubicBezTo>
                <a:cubicBezTo>
                  <a:pt x="27236" y="11655"/>
                  <a:pt x="27141" y="11307"/>
                  <a:pt x="27046" y="10958"/>
                </a:cubicBezTo>
                <a:cubicBezTo>
                  <a:pt x="27014" y="10895"/>
                  <a:pt x="27014" y="10863"/>
                  <a:pt x="26982" y="10800"/>
                </a:cubicBezTo>
                <a:cubicBezTo>
                  <a:pt x="26887" y="10420"/>
                  <a:pt x="26792" y="10072"/>
                  <a:pt x="26665" y="9723"/>
                </a:cubicBezTo>
                <a:cubicBezTo>
                  <a:pt x="26665" y="9660"/>
                  <a:pt x="26634" y="9628"/>
                  <a:pt x="26634" y="9597"/>
                </a:cubicBezTo>
                <a:cubicBezTo>
                  <a:pt x="26507" y="9217"/>
                  <a:pt x="26380" y="8837"/>
                  <a:pt x="26222" y="8488"/>
                </a:cubicBezTo>
                <a:cubicBezTo>
                  <a:pt x="26222" y="8457"/>
                  <a:pt x="26222" y="8457"/>
                  <a:pt x="26222" y="8425"/>
                </a:cubicBezTo>
                <a:cubicBezTo>
                  <a:pt x="25019" y="5321"/>
                  <a:pt x="23309" y="2503"/>
                  <a:pt x="21187" y="33"/>
                </a:cubicBezTo>
                <a:lnTo>
                  <a:pt x="21155"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24" name="Google Shape;1424;p38"/>
          <p:cNvSpPr/>
          <p:nvPr/>
        </p:nvSpPr>
        <p:spPr>
          <a:xfrm>
            <a:off x="4441295" y="3924362"/>
            <a:ext cx="2309545" cy="1097114"/>
          </a:xfrm>
          <a:custGeom>
            <a:avLst/>
            <a:gdLst/>
            <a:ahLst/>
            <a:cxnLst/>
            <a:rect l="l" t="t" r="r" b="b"/>
            <a:pathLst>
              <a:path w="64669" h="30720" extrusionOk="0">
                <a:moveTo>
                  <a:pt x="64605" y="0"/>
                </a:moveTo>
                <a:lnTo>
                  <a:pt x="64605" y="5"/>
                </a:lnTo>
                <a:lnTo>
                  <a:pt x="64605" y="5"/>
                </a:lnTo>
                <a:cubicBezTo>
                  <a:pt x="64605" y="4"/>
                  <a:pt x="64605" y="2"/>
                  <a:pt x="64605" y="0"/>
                </a:cubicBezTo>
                <a:close/>
                <a:moveTo>
                  <a:pt x="64605" y="5"/>
                </a:moveTo>
                <a:lnTo>
                  <a:pt x="64605" y="5"/>
                </a:lnTo>
                <a:cubicBezTo>
                  <a:pt x="64634" y="10137"/>
                  <a:pt x="56433" y="18368"/>
                  <a:pt x="46332" y="18400"/>
                </a:cubicBezTo>
                <a:lnTo>
                  <a:pt x="25146" y="18463"/>
                </a:lnTo>
                <a:lnTo>
                  <a:pt x="12130" y="18495"/>
                </a:lnTo>
                <a:lnTo>
                  <a:pt x="12130" y="15930"/>
                </a:lnTo>
                <a:lnTo>
                  <a:pt x="0" y="23372"/>
                </a:lnTo>
                <a:lnTo>
                  <a:pt x="12193" y="30719"/>
                </a:lnTo>
                <a:lnTo>
                  <a:pt x="12161" y="28154"/>
                </a:lnTo>
                <a:lnTo>
                  <a:pt x="44274" y="28059"/>
                </a:lnTo>
                <a:lnTo>
                  <a:pt x="46269" y="28059"/>
                </a:lnTo>
                <a:cubicBezTo>
                  <a:pt x="53299" y="28059"/>
                  <a:pt x="59728" y="25462"/>
                  <a:pt x="64637" y="21218"/>
                </a:cubicBezTo>
                <a:lnTo>
                  <a:pt x="64669" y="21187"/>
                </a:lnTo>
                <a:lnTo>
                  <a:pt x="64605" y="5"/>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425" name="Google Shape;1425;p38"/>
          <p:cNvSpPr/>
          <p:nvPr/>
        </p:nvSpPr>
        <p:spPr>
          <a:xfrm>
            <a:off x="4998885" y="2274227"/>
            <a:ext cx="1097115" cy="2309546"/>
          </a:xfrm>
          <a:custGeom>
            <a:avLst/>
            <a:gdLst/>
            <a:ahLst/>
            <a:cxnLst/>
            <a:rect l="l" t="t" r="r" b="b"/>
            <a:pathLst>
              <a:path w="30720" h="64669" extrusionOk="0">
                <a:moveTo>
                  <a:pt x="30719" y="64605"/>
                </a:moveTo>
                <a:lnTo>
                  <a:pt x="30714" y="64605"/>
                </a:lnTo>
                <a:lnTo>
                  <a:pt x="30714" y="64605"/>
                </a:lnTo>
                <a:cubicBezTo>
                  <a:pt x="30716" y="64605"/>
                  <a:pt x="30717" y="64605"/>
                  <a:pt x="30719" y="64605"/>
                </a:cubicBezTo>
                <a:close/>
                <a:moveTo>
                  <a:pt x="7347" y="0"/>
                </a:moveTo>
                <a:lnTo>
                  <a:pt x="0" y="12161"/>
                </a:lnTo>
                <a:lnTo>
                  <a:pt x="2565" y="12161"/>
                </a:lnTo>
                <a:lnTo>
                  <a:pt x="2629" y="44242"/>
                </a:lnTo>
                <a:cubicBezTo>
                  <a:pt x="2629" y="44242"/>
                  <a:pt x="2660" y="45667"/>
                  <a:pt x="2660" y="46269"/>
                </a:cubicBezTo>
                <a:cubicBezTo>
                  <a:pt x="2660" y="53299"/>
                  <a:pt x="5257" y="59696"/>
                  <a:pt x="9533" y="64637"/>
                </a:cubicBezTo>
                <a:lnTo>
                  <a:pt x="9533" y="64668"/>
                </a:lnTo>
                <a:lnTo>
                  <a:pt x="30714" y="64605"/>
                </a:lnTo>
                <a:lnTo>
                  <a:pt x="30714" y="64605"/>
                </a:lnTo>
                <a:cubicBezTo>
                  <a:pt x="30696" y="64605"/>
                  <a:pt x="30678" y="64605"/>
                  <a:pt x="30661" y="64605"/>
                </a:cubicBezTo>
                <a:cubicBezTo>
                  <a:pt x="20553" y="64605"/>
                  <a:pt x="12351" y="56415"/>
                  <a:pt x="12319" y="46300"/>
                </a:cubicBezTo>
                <a:lnTo>
                  <a:pt x="12256" y="25145"/>
                </a:lnTo>
                <a:lnTo>
                  <a:pt x="12224" y="12130"/>
                </a:lnTo>
                <a:lnTo>
                  <a:pt x="14790" y="12130"/>
                </a:lnTo>
                <a:lnTo>
                  <a:pt x="7347"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5" name="Synergistically utilize technically sound portals with frictionless chains. Dramatically customize…">
            <a:extLst>
              <a:ext uri="{FF2B5EF4-FFF2-40B4-BE49-F238E27FC236}">
                <a16:creationId xmlns:a16="http://schemas.microsoft.com/office/drawing/2014/main" id="{1A8CCAEC-8FA4-47E7-8E56-F7B4FEF7BB0C}"/>
              </a:ext>
            </a:extLst>
          </p:cNvPr>
          <p:cNvSpPr txBox="1"/>
          <p:nvPr/>
        </p:nvSpPr>
        <p:spPr>
          <a:xfrm>
            <a:off x="8662216" y="2791106"/>
            <a:ext cx="2216063" cy="488595"/>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400" b="1" dirty="0">
                <a:latin typeface="华文中宋" panose="02010600040101010101" pitchFamily="2" charset="-122"/>
                <a:ea typeface="华文中宋" panose="02010600040101010101" pitchFamily="2" charset="-122"/>
                <a:sym typeface="+mn-lt"/>
              </a:rPr>
              <a:t>资源配置</a:t>
            </a:r>
            <a:endParaRPr lang="en-US" altLang="zh-CN" sz="2400" b="1" dirty="0">
              <a:latin typeface="华文中宋" panose="02010600040101010101" pitchFamily="2" charset="-122"/>
              <a:ea typeface="华文中宋" panose="02010600040101010101" pitchFamily="2" charset="-122"/>
              <a:sym typeface="+mn-lt"/>
            </a:endParaRPr>
          </a:p>
        </p:txBody>
      </p:sp>
      <p:sp>
        <p:nvSpPr>
          <p:cNvPr id="16" name="Synergistically utilize technically sound portals with frictionless chains. Dramatically customize…">
            <a:extLst>
              <a:ext uri="{FF2B5EF4-FFF2-40B4-BE49-F238E27FC236}">
                <a16:creationId xmlns:a16="http://schemas.microsoft.com/office/drawing/2014/main" id="{54DD51FA-974C-40C6-A786-91900135646F}"/>
              </a:ext>
            </a:extLst>
          </p:cNvPr>
          <p:cNvSpPr txBox="1"/>
          <p:nvPr/>
        </p:nvSpPr>
        <p:spPr>
          <a:xfrm>
            <a:off x="3280489" y="1609228"/>
            <a:ext cx="2216063" cy="488595"/>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400" b="1" dirty="0">
                <a:latin typeface="华文中宋" panose="02010600040101010101" pitchFamily="2" charset="-122"/>
                <a:ea typeface="华文中宋" panose="02010600040101010101" pitchFamily="2" charset="-122"/>
                <a:sym typeface="+mn-lt"/>
              </a:rPr>
              <a:t>社会认可度</a:t>
            </a:r>
            <a:endParaRPr lang="en-US" altLang="zh-CN" sz="2400" b="1" dirty="0">
              <a:latin typeface="华文中宋" panose="02010600040101010101" pitchFamily="2" charset="-122"/>
              <a:ea typeface="华文中宋" panose="02010600040101010101" pitchFamily="2" charset="-122"/>
              <a:sym typeface="+mn-lt"/>
            </a:endParaRPr>
          </a:p>
        </p:txBody>
      </p:sp>
      <p:sp>
        <p:nvSpPr>
          <p:cNvPr id="17" name="Synergistically utilize technically sound portals with frictionless chains. Dramatically customize…">
            <a:extLst>
              <a:ext uri="{FF2B5EF4-FFF2-40B4-BE49-F238E27FC236}">
                <a16:creationId xmlns:a16="http://schemas.microsoft.com/office/drawing/2014/main" id="{A92E281B-8B26-4CF3-834D-7D5B652075D7}"/>
              </a:ext>
            </a:extLst>
          </p:cNvPr>
          <p:cNvSpPr txBox="1"/>
          <p:nvPr/>
        </p:nvSpPr>
        <p:spPr>
          <a:xfrm>
            <a:off x="1634485" y="4424259"/>
            <a:ext cx="2216063" cy="488595"/>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2400" b="1" kern="0">
                <a:solidFill>
                  <a:srgbClr val="A43975"/>
                </a:solidFill>
                <a:latin typeface="华文中宋" panose="02010600040101010101" pitchFamily="2" charset="-122"/>
                <a:ea typeface="华文中宋" panose="02010600040101010101" pitchFamily="2" charset="-122"/>
                <a:cs typeface="+mn-ea"/>
              </a:defRPr>
            </a:lvl1pPr>
          </a:lstStyle>
          <a:p>
            <a:r>
              <a:rPr lang="zh-CN" altLang="en-US" dirty="0">
                <a:sym typeface="+mn-lt"/>
              </a:rPr>
              <a:t>政府保障程度</a:t>
            </a:r>
            <a:endParaRPr lang="en-US" altLang="zh-CN" dirty="0">
              <a:sym typeface="+mn-lt"/>
            </a:endParaRPr>
          </a:p>
        </p:txBody>
      </p:sp>
      <p:sp>
        <p:nvSpPr>
          <p:cNvPr id="18" name="Synergistically utilize technically sound portals with frictionless chains. Dramatically customize…">
            <a:extLst>
              <a:ext uri="{FF2B5EF4-FFF2-40B4-BE49-F238E27FC236}">
                <a16:creationId xmlns:a16="http://schemas.microsoft.com/office/drawing/2014/main" id="{627836E3-D05B-4D4B-8529-B7753391F4BC}"/>
              </a:ext>
            </a:extLst>
          </p:cNvPr>
          <p:cNvSpPr txBox="1"/>
          <p:nvPr/>
        </p:nvSpPr>
        <p:spPr>
          <a:xfrm>
            <a:off x="7391332" y="5684208"/>
            <a:ext cx="2216063" cy="488595"/>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400" b="1" dirty="0">
                <a:latin typeface="华文中宋" panose="02010600040101010101" pitchFamily="2" charset="-122"/>
                <a:ea typeface="华文中宋" panose="02010600040101010101" pitchFamily="2" charset="-122"/>
                <a:sym typeface="+mn-lt"/>
              </a:rPr>
              <a:t>教育质量</a:t>
            </a:r>
            <a:endParaRPr lang="en-US" altLang="zh-CN" dirty="0">
              <a:sym typeface="+mn-lt"/>
            </a:endParaRPr>
          </a:p>
        </p:txBody>
      </p:sp>
      <p:sp>
        <p:nvSpPr>
          <p:cNvPr id="19" name="Google Shape;1496;p40">
            <a:extLst>
              <a:ext uri="{FF2B5EF4-FFF2-40B4-BE49-F238E27FC236}">
                <a16:creationId xmlns:a16="http://schemas.microsoft.com/office/drawing/2014/main" id="{954FC7B0-D7C2-4451-8091-C40EEB9E792C}"/>
              </a:ext>
            </a:extLst>
          </p:cNvPr>
          <p:cNvSpPr txBox="1"/>
          <p:nvPr/>
        </p:nvSpPr>
        <p:spPr>
          <a:xfrm>
            <a:off x="484939" y="402183"/>
            <a:ext cx="6099656" cy="496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 sz="2000" b="1" dirty="0">
                <a:latin typeface="华文中宋" panose="02010600040101010101" pitchFamily="2" charset="-122"/>
                <a:ea typeface="华文中宋" panose="02010600040101010101" pitchFamily="2" charset="-122"/>
                <a:cs typeface="+mn-ea"/>
                <a:sym typeface="+mn-lt"/>
              </a:rPr>
              <a:t> </a:t>
            </a:r>
            <a:endParaRPr sz="2000" b="1" dirty="0">
              <a:latin typeface="华文中宋" panose="02010600040101010101" pitchFamily="2" charset="-122"/>
              <a:ea typeface="华文中宋" panose="02010600040101010101" pitchFamily="2" charset="-122"/>
              <a:cs typeface="+mn-ea"/>
              <a:sym typeface="+mn-lt"/>
            </a:endParaRPr>
          </a:p>
        </p:txBody>
      </p:sp>
      <p:sp>
        <p:nvSpPr>
          <p:cNvPr id="20" name="文本框 19">
            <a:extLst>
              <a:ext uri="{FF2B5EF4-FFF2-40B4-BE49-F238E27FC236}">
                <a16:creationId xmlns:a16="http://schemas.microsoft.com/office/drawing/2014/main" id="{0B42D245-7205-44F7-BFE2-688E5A3C1478}"/>
              </a:ext>
            </a:extLst>
          </p:cNvPr>
          <p:cNvSpPr txBox="1"/>
          <p:nvPr/>
        </p:nvSpPr>
        <p:spPr>
          <a:xfrm>
            <a:off x="590746" y="457574"/>
            <a:ext cx="5897736" cy="461665"/>
          </a:xfrm>
          <a:prstGeom prst="rect">
            <a:avLst/>
          </a:prstGeom>
          <a:noFill/>
        </p:spPr>
        <p:txBody>
          <a:bodyPr wrap="square" rtlCol="0">
            <a:spAutoFit/>
          </a:bodyPr>
          <a:lstStyle/>
          <a:p>
            <a:pPr algn="dist"/>
            <a:r>
              <a:rPr lang="zh-CN" altLang="en-US" sz="2400" b="1" dirty="0">
                <a:solidFill>
                  <a:schemeClr val="bg1"/>
                </a:solidFill>
                <a:latin typeface="+mj-ea"/>
                <a:ea typeface="+mj-ea"/>
                <a:cs typeface="+mn-ea"/>
                <a:sym typeface="+mn-lt"/>
              </a:rPr>
              <a:t>县域义务教育优质均衡发展督导评估认定</a:t>
            </a: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8" name="Google Shape;188;p17"/>
          <p:cNvSpPr/>
          <p:nvPr/>
        </p:nvSpPr>
        <p:spPr>
          <a:xfrm>
            <a:off x="6681300" y="4883747"/>
            <a:ext cx="4582088" cy="1308559"/>
          </a:xfrm>
          <a:custGeom>
            <a:avLst/>
            <a:gdLst/>
            <a:ahLst/>
            <a:cxnLst/>
            <a:rect l="l" t="t" r="r" b="b"/>
            <a:pathLst>
              <a:path w="105142" h="33665" fill="none" extrusionOk="0">
                <a:moveTo>
                  <a:pt x="24354" y="15866"/>
                </a:moveTo>
                <a:lnTo>
                  <a:pt x="1" y="33664"/>
                </a:lnTo>
                <a:lnTo>
                  <a:pt x="105142" y="33664"/>
                </a:lnTo>
                <a:lnTo>
                  <a:pt x="105142" y="0"/>
                </a:lnTo>
                <a:lnTo>
                  <a:pt x="32303" y="0"/>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89" name="Google Shape;189;p17"/>
          <p:cNvSpPr/>
          <p:nvPr/>
        </p:nvSpPr>
        <p:spPr>
          <a:xfrm>
            <a:off x="7046669" y="3160369"/>
            <a:ext cx="4216567" cy="1308559"/>
          </a:xfrm>
          <a:custGeom>
            <a:avLst/>
            <a:gdLst/>
            <a:ahLst/>
            <a:cxnLst/>
            <a:rect l="l" t="t" r="r" b="b"/>
            <a:pathLst>
              <a:path w="93646" h="33665" fill="none" extrusionOk="0">
                <a:moveTo>
                  <a:pt x="16690" y="12447"/>
                </a:moveTo>
                <a:lnTo>
                  <a:pt x="26539" y="33665"/>
                </a:lnTo>
                <a:lnTo>
                  <a:pt x="93646" y="33665"/>
                </a:lnTo>
                <a:lnTo>
                  <a:pt x="93646" y="1"/>
                </a:lnTo>
                <a:lnTo>
                  <a:pt x="0" y="1"/>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90" name="Google Shape;190;p17"/>
          <p:cNvSpPr/>
          <p:nvPr/>
        </p:nvSpPr>
        <p:spPr>
          <a:xfrm>
            <a:off x="943314" y="4883741"/>
            <a:ext cx="4968975" cy="1308559"/>
          </a:xfrm>
          <a:custGeom>
            <a:avLst/>
            <a:gdLst/>
            <a:ahLst/>
            <a:cxnLst/>
            <a:rect l="l" t="t" r="r" b="b"/>
            <a:pathLst>
              <a:path w="116670" h="33665" fill="none" extrusionOk="0">
                <a:moveTo>
                  <a:pt x="1" y="33664"/>
                </a:moveTo>
                <a:lnTo>
                  <a:pt x="116670" y="33664"/>
                </a:lnTo>
                <a:lnTo>
                  <a:pt x="90796" y="15866"/>
                </a:lnTo>
                <a:lnTo>
                  <a:pt x="77780" y="0"/>
                </a:lnTo>
                <a:lnTo>
                  <a:pt x="1" y="0"/>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91" name="Google Shape;191;p17"/>
          <p:cNvSpPr/>
          <p:nvPr/>
        </p:nvSpPr>
        <p:spPr>
          <a:xfrm>
            <a:off x="933900" y="3157907"/>
            <a:ext cx="5258928" cy="1311008"/>
          </a:xfrm>
          <a:custGeom>
            <a:avLst/>
            <a:gdLst/>
            <a:ahLst/>
            <a:cxnLst/>
            <a:rect l="l" t="t" r="r" b="b"/>
            <a:pathLst>
              <a:path w="123478" h="33728" fill="none" extrusionOk="0">
                <a:moveTo>
                  <a:pt x="222" y="33728"/>
                </a:moveTo>
                <a:lnTo>
                  <a:pt x="111665" y="33728"/>
                </a:lnTo>
                <a:lnTo>
                  <a:pt x="110589" y="15930"/>
                </a:lnTo>
                <a:lnTo>
                  <a:pt x="123478" y="0"/>
                </a:lnTo>
                <a:lnTo>
                  <a:pt x="0" y="0"/>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92" name="Google Shape;192;p17"/>
          <p:cNvSpPr/>
          <p:nvPr/>
        </p:nvSpPr>
        <p:spPr>
          <a:xfrm>
            <a:off x="943312" y="1435768"/>
            <a:ext cx="5137589" cy="1308559"/>
          </a:xfrm>
          <a:custGeom>
            <a:avLst/>
            <a:gdLst/>
            <a:ahLst/>
            <a:cxnLst/>
            <a:rect l="l" t="t" r="r" b="b"/>
            <a:pathLst>
              <a:path w="120629" h="33665" fill="none" extrusionOk="0">
                <a:moveTo>
                  <a:pt x="1" y="33665"/>
                </a:moveTo>
                <a:lnTo>
                  <a:pt x="78477" y="33665"/>
                </a:lnTo>
                <a:lnTo>
                  <a:pt x="90796" y="15898"/>
                </a:lnTo>
                <a:lnTo>
                  <a:pt x="120628" y="1"/>
                </a:lnTo>
                <a:lnTo>
                  <a:pt x="1" y="1"/>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193" name="Google Shape;193;p17"/>
          <p:cNvSpPr/>
          <p:nvPr/>
        </p:nvSpPr>
        <p:spPr>
          <a:xfrm>
            <a:off x="5380171" y="2856315"/>
            <a:ext cx="1298724" cy="2381953"/>
          </a:xfrm>
          <a:custGeom>
            <a:avLst/>
            <a:gdLst/>
            <a:ahLst/>
            <a:cxnLst/>
            <a:rect l="l" t="t" r="r" b="b"/>
            <a:pathLst>
              <a:path w="33412" h="61280" extrusionOk="0">
                <a:moveTo>
                  <a:pt x="33411" y="0"/>
                </a:moveTo>
                <a:cubicBezTo>
                  <a:pt x="15012" y="0"/>
                  <a:pt x="0" y="15011"/>
                  <a:pt x="0" y="33411"/>
                </a:cubicBezTo>
                <a:cubicBezTo>
                  <a:pt x="0" y="48771"/>
                  <a:pt x="12510" y="61280"/>
                  <a:pt x="27869" y="61280"/>
                </a:cubicBezTo>
                <a:lnTo>
                  <a:pt x="27869" y="50006"/>
                </a:lnTo>
                <a:cubicBezTo>
                  <a:pt x="18717" y="50006"/>
                  <a:pt x="11275" y="42563"/>
                  <a:pt x="11275" y="33411"/>
                </a:cubicBezTo>
                <a:cubicBezTo>
                  <a:pt x="11275" y="21187"/>
                  <a:pt x="21219" y="11275"/>
                  <a:pt x="33411" y="11275"/>
                </a:cubicBezTo>
                <a:lnTo>
                  <a:pt x="33411"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94" name="Google Shape;194;p17"/>
          <p:cNvSpPr/>
          <p:nvPr/>
        </p:nvSpPr>
        <p:spPr>
          <a:xfrm>
            <a:off x="6680063" y="2856313"/>
            <a:ext cx="1568327" cy="1569532"/>
          </a:xfrm>
          <a:custGeom>
            <a:avLst/>
            <a:gdLst/>
            <a:ahLst/>
            <a:cxnLst/>
            <a:rect l="l" t="t" r="r" b="b"/>
            <a:pathLst>
              <a:path w="40348" h="40379" extrusionOk="0">
                <a:moveTo>
                  <a:pt x="1" y="0"/>
                </a:moveTo>
                <a:lnTo>
                  <a:pt x="1" y="11275"/>
                </a:lnTo>
                <a:cubicBezTo>
                  <a:pt x="16025" y="11275"/>
                  <a:pt x="29105" y="24322"/>
                  <a:pt x="29105" y="40378"/>
                </a:cubicBezTo>
                <a:lnTo>
                  <a:pt x="40347" y="40378"/>
                </a:lnTo>
                <a:cubicBezTo>
                  <a:pt x="40347" y="18115"/>
                  <a:pt x="22233" y="0"/>
                  <a:pt x="1"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95" name="Google Shape;195;p17"/>
          <p:cNvSpPr/>
          <p:nvPr/>
        </p:nvSpPr>
        <p:spPr>
          <a:xfrm>
            <a:off x="6341544" y="4425806"/>
            <a:ext cx="1906845" cy="1905563"/>
          </a:xfrm>
          <a:custGeom>
            <a:avLst/>
            <a:gdLst/>
            <a:ahLst/>
            <a:cxnLst/>
            <a:rect l="l" t="t" r="r" b="b"/>
            <a:pathLst>
              <a:path w="49057" h="49024" extrusionOk="0">
                <a:moveTo>
                  <a:pt x="37814" y="0"/>
                </a:moveTo>
                <a:cubicBezTo>
                  <a:pt x="37814" y="20838"/>
                  <a:pt x="20839" y="37781"/>
                  <a:pt x="1" y="37781"/>
                </a:cubicBezTo>
                <a:lnTo>
                  <a:pt x="1" y="49024"/>
                </a:lnTo>
                <a:cubicBezTo>
                  <a:pt x="27046" y="49024"/>
                  <a:pt x="49056" y="27045"/>
                  <a:pt x="49056"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96" name="Google Shape;196;p17"/>
          <p:cNvSpPr/>
          <p:nvPr/>
        </p:nvSpPr>
        <p:spPr>
          <a:xfrm>
            <a:off x="4013773" y="4003560"/>
            <a:ext cx="2327808" cy="2327808"/>
          </a:xfrm>
          <a:custGeom>
            <a:avLst/>
            <a:gdLst/>
            <a:ahLst/>
            <a:cxnLst/>
            <a:rect l="l" t="t" r="r" b="b"/>
            <a:pathLst>
              <a:path w="59887" h="59887" extrusionOk="0">
                <a:moveTo>
                  <a:pt x="1" y="1"/>
                </a:moveTo>
                <a:cubicBezTo>
                  <a:pt x="1" y="15994"/>
                  <a:pt x="6240" y="31036"/>
                  <a:pt x="17545" y="42342"/>
                </a:cubicBezTo>
                <a:cubicBezTo>
                  <a:pt x="28851" y="53680"/>
                  <a:pt x="43894" y="59887"/>
                  <a:pt x="59887" y="59887"/>
                </a:cubicBezTo>
                <a:lnTo>
                  <a:pt x="59887" y="48644"/>
                </a:lnTo>
                <a:cubicBezTo>
                  <a:pt x="33063" y="48644"/>
                  <a:pt x="11243" y="26824"/>
                  <a:pt x="11243"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97" name="Google Shape;197;p17"/>
          <p:cNvSpPr/>
          <p:nvPr/>
        </p:nvSpPr>
        <p:spPr>
          <a:xfrm>
            <a:off x="4013773" y="1147741"/>
            <a:ext cx="2855896" cy="2855856"/>
          </a:xfrm>
          <a:custGeom>
            <a:avLst/>
            <a:gdLst/>
            <a:ahLst/>
            <a:cxnLst/>
            <a:rect l="l" t="t" r="r" b="b"/>
            <a:pathLst>
              <a:path w="73473" h="73472" extrusionOk="0">
                <a:moveTo>
                  <a:pt x="73473" y="0"/>
                </a:moveTo>
                <a:cubicBezTo>
                  <a:pt x="53838" y="0"/>
                  <a:pt x="35375" y="7664"/>
                  <a:pt x="21504" y="21535"/>
                </a:cubicBezTo>
                <a:cubicBezTo>
                  <a:pt x="7633" y="35406"/>
                  <a:pt x="1" y="53837"/>
                  <a:pt x="1" y="73472"/>
                </a:cubicBezTo>
                <a:lnTo>
                  <a:pt x="11243" y="73472"/>
                </a:lnTo>
                <a:cubicBezTo>
                  <a:pt x="11243" y="39174"/>
                  <a:pt x="39175" y="11274"/>
                  <a:pt x="73473" y="11274"/>
                </a:cubicBezTo>
                <a:lnTo>
                  <a:pt x="73473"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98" name="Google Shape;198;p17"/>
          <p:cNvSpPr/>
          <p:nvPr/>
        </p:nvSpPr>
        <p:spPr>
          <a:xfrm>
            <a:off x="5489708" y="2976927"/>
            <a:ext cx="1189189" cy="2162883"/>
          </a:xfrm>
          <a:custGeom>
            <a:avLst/>
            <a:gdLst/>
            <a:ahLst/>
            <a:cxnLst/>
            <a:rect l="l" t="t" r="r" b="b"/>
            <a:pathLst>
              <a:path w="30594" h="55644" extrusionOk="0">
                <a:moveTo>
                  <a:pt x="30593" y="1"/>
                </a:moveTo>
                <a:cubicBezTo>
                  <a:pt x="13745" y="1"/>
                  <a:pt x="1" y="13745"/>
                  <a:pt x="1" y="30593"/>
                </a:cubicBezTo>
                <a:cubicBezTo>
                  <a:pt x="1" y="44401"/>
                  <a:pt x="11243" y="55643"/>
                  <a:pt x="25051" y="55643"/>
                </a:cubicBezTo>
                <a:lnTo>
                  <a:pt x="25051" y="50006"/>
                </a:lnTo>
                <a:cubicBezTo>
                  <a:pt x="14347" y="50006"/>
                  <a:pt x="5638" y="41297"/>
                  <a:pt x="5638" y="30593"/>
                </a:cubicBezTo>
                <a:cubicBezTo>
                  <a:pt x="5638" y="16849"/>
                  <a:pt x="16849" y="5638"/>
                  <a:pt x="30593" y="5638"/>
                </a:cubicBezTo>
                <a:lnTo>
                  <a:pt x="30593"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199" name="Google Shape;199;p17"/>
          <p:cNvSpPr/>
          <p:nvPr/>
        </p:nvSpPr>
        <p:spPr>
          <a:xfrm>
            <a:off x="6678856" y="2976926"/>
            <a:ext cx="1459957" cy="1459996"/>
          </a:xfrm>
          <a:custGeom>
            <a:avLst/>
            <a:gdLst/>
            <a:ahLst/>
            <a:cxnLst/>
            <a:rect l="l" t="t" r="r" b="b"/>
            <a:pathLst>
              <a:path w="37560" h="37561" extrusionOk="0">
                <a:moveTo>
                  <a:pt x="0" y="1"/>
                </a:moveTo>
                <a:lnTo>
                  <a:pt x="0" y="5638"/>
                </a:lnTo>
                <a:cubicBezTo>
                  <a:pt x="17608" y="5638"/>
                  <a:pt x="31923" y="19952"/>
                  <a:pt x="31923" y="37560"/>
                </a:cubicBezTo>
                <a:lnTo>
                  <a:pt x="37560" y="37560"/>
                </a:lnTo>
                <a:cubicBezTo>
                  <a:pt x="37560" y="16849"/>
                  <a:pt x="20712" y="1"/>
                  <a:pt x="0"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00" name="Google Shape;200;p17"/>
          <p:cNvSpPr/>
          <p:nvPr/>
        </p:nvSpPr>
        <p:spPr>
          <a:xfrm>
            <a:off x="6341545" y="4436885"/>
            <a:ext cx="1797271" cy="1796027"/>
          </a:xfrm>
          <a:custGeom>
            <a:avLst/>
            <a:gdLst/>
            <a:ahLst/>
            <a:cxnLst/>
            <a:rect l="l" t="t" r="r" b="b"/>
            <a:pathLst>
              <a:path w="46238" h="46206" extrusionOk="0">
                <a:moveTo>
                  <a:pt x="40601" y="0"/>
                </a:moveTo>
                <a:cubicBezTo>
                  <a:pt x="40601" y="22390"/>
                  <a:pt x="22391" y="40600"/>
                  <a:pt x="1" y="40600"/>
                </a:cubicBezTo>
                <a:lnTo>
                  <a:pt x="1" y="46205"/>
                </a:lnTo>
                <a:cubicBezTo>
                  <a:pt x="25495" y="46205"/>
                  <a:pt x="46238" y="25494"/>
                  <a:pt x="46238"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01" name="Google Shape;201;p17"/>
          <p:cNvSpPr/>
          <p:nvPr/>
        </p:nvSpPr>
        <p:spPr>
          <a:xfrm>
            <a:off x="4123350" y="4014637"/>
            <a:ext cx="2218233" cy="2218272"/>
          </a:xfrm>
          <a:custGeom>
            <a:avLst/>
            <a:gdLst/>
            <a:ahLst/>
            <a:cxnLst/>
            <a:rect l="l" t="t" r="r" b="b"/>
            <a:pathLst>
              <a:path w="57068" h="57069" extrusionOk="0">
                <a:moveTo>
                  <a:pt x="0" y="1"/>
                </a:moveTo>
                <a:cubicBezTo>
                  <a:pt x="0" y="15234"/>
                  <a:pt x="5922" y="29580"/>
                  <a:pt x="16722" y="40347"/>
                </a:cubicBezTo>
                <a:cubicBezTo>
                  <a:pt x="27489" y="51146"/>
                  <a:pt x="41835" y="57068"/>
                  <a:pt x="57068" y="57068"/>
                </a:cubicBezTo>
                <a:lnTo>
                  <a:pt x="57068" y="51463"/>
                </a:lnTo>
                <a:cubicBezTo>
                  <a:pt x="28724" y="51463"/>
                  <a:pt x="5637" y="28376"/>
                  <a:pt x="563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02" name="Google Shape;202;p17"/>
          <p:cNvSpPr/>
          <p:nvPr/>
        </p:nvSpPr>
        <p:spPr>
          <a:xfrm>
            <a:off x="4123350" y="1268357"/>
            <a:ext cx="2746321" cy="2746321"/>
          </a:xfrm>
          <a:custGeom>
            <a:avLst/>
            <a:gdLst/>
            <a:ahLst/>
            <a:cxnLst/>
            <a:rect l="l" t="t" r="r" b="b"/>
            <a:pathLst>
              <a:path w="70654" h="70654" extrusionOk="0">
                <a:moveTo>
                  <a:pt x="70654" y="1"/>
                </a:moveTo>
                <a:cubicBezTo>
                  <a:pt x="51779" y="1"/>
                  <a:pt x="34013" y="7348"/>
                  <a:pt x="20680" y="20680"/>
                </a:cubicBezTo>
                <a:cubicBezTo>
                  <a:pt x="7348" y="34045"/>
                  <a:pt x="0" y="51779"/>
                  <a:pt x="0" y="70654"/>
                </a:cubicBezTo>
                <a:lnTo>
                  <a:pt x="5606" y="70654"/>
                </a:lnTo>
                <a:cubicBezTo>
                  <a:pt x="5606" y="34805"/>
                  <a:pt x="34773" y="5638"/>
                  <a:pt x="70654" y="5638"/>
                </a:cubicBezTo>
                <a:lnTo>
                  <a:pt x="70654" y="1"/>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03" name="Google Shape;203;p17"/>
          <p:cNvSpPr/>
          <p:nvPr/>
        </p:nvSpPr>
        <p:spPr>
          <a:xfrm>
            <a:off x="6315695" y="4891079"/>
            <a:ext cx="291797" cy="265988"/>
          </a:xfrm>
          <a:custGeom>
            <a:avLst/>
            <a:gdLst/>
            <a:ahLst/>
            <a:cxnLst/>
            <a:rect l="l" t="t" r="r" b="b"/>
            <a:pathLst>
              <a:path w="7507" h="6843" extrusionOk="0">
                <a:moveTo>
                  <a:pt x="3730" y="0"/>
                </a:moveTo>
                <a:cubicBezTo>
                  <a:pt x="2186" y="0"/>
                  <a:pt x="791" y="1061"/>
                  <a:pt x="413" y="2630"/>
                </a:cubicBezTo>
                <a:cubicBezTo>
                  <a:pt x="1" y="4466"/>
                  <a:pt x="1141" y="6303"/>
                  <a:pt x="2978" y="6747"/>
                </a:cubicBezTo>
                <a:cubicBezTo>
                  <a:pt x="3246" y="6811"/>
                  <a:pt x="3514" y="6842"/>
                  <a:pt x="3778" y="6842"/>
                </a:cubicBezTo>
                <a:cubicBezTo>
                  <a:pt x="5320" y="6842"/>
                  <a:pt x="6711" y="5782"/>
                  <a:pt x="7063" y="4213"/>
                </a:cubicBezTo>
                <a:cubicBezTo>
                  <a:pt x="7506" y="2376"/>
                  <a:pt x="6366" y="539"/>
                  <a:pt x="4530" y="96"/>
                </a:cubicBezTo>
                <a:cubicBezTo>
                  <a:pt x="4261" y="31"/>
                  <a:pt x="3993" y="0"/>
                  <a:pt x="3730" y="0"/>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04" name="Google Shape;204;p17"/>
          <p:cNvSpPr/>
          <p:nvPr/>
        </p:nvSpPr>
        <p:spPr>
          <a:xfrm>
            <a:off x="6363699" y="4926802"/>
            <a:ext cx="195788" cy="195749"/>
          </a:xfrm>
          <a:custGeom>
            <a:avLst/>
            <a:gdLst/>
            <a:ahLst/>
            <a:cxnLst/>
            <a:rect l="l" t="t" r="r" b="b"/>
            <a:pathLst>
              <a:path w="5037" h="5036" extrusionOk="0">
                <a:moveTo>
                  <a:pt x="2503" y="0"/>
                </a:moveTo>
                <a:cubicBezTo>
                  <a:pt x="1109" y="0"/>
                  <a:pt x="1" y="1109"/>
                  <a:pt x="1" y="2502"/>
                </a:cubicBezTo>
                <a:cubicBezTo>
                  <a:pt x="1" y="3896"/>
                  <a:pt x="1109" y="5036"/>
                  <a:pt x="2503" y="5036"/>
                </a:cubicBezTo>
                <a:cubicBezTo>
                  <a:pt x="3896" y="5036"/>
                  <a:pt x="5036" y="3896"/>
                  <a:pt x="5036" y="2502"/>
                </a:cubicBezTo>
                <a:cubicBezTo>
                  <a:pt x="5036" y="1109"/>
                  <a:pt x="3896" y="0"/>
                  <a:pt x="2503" y="0"/>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05" name="Google Shape;205;p17"/>
          <p:cNvSpPr/>
          <p:nvPr/>
        </p:nvSpPr>
        <p:spPr>
          <a:xfrm>
            <a:off x="6435105" y="4964273"/>
            <a:ext cx="70199" cy="120147"/>
          </a:xfrm>
          <a:custGeom>
            <a:avLst/>
            <a:gdLst/>
            <a:ahLst/>
            <a:cxnLst/>
            <a:rect l="l" t="t" r="r" b="b"/>
            <a:pathLst>
              <a:path w="1806" h="3091" extrusionOk="0">
                <a:moveTo>
                  <a:pt x="391" y="1"/>
                </a:moveTo>
                <a:cubicBezTo>
                  <a:pt x="310" y="1"/>
                  <a:pt x="229" y="26"/>
                  <a:pt x="159" y="82"/>
                </a:cubicBezTo>
                <a:cubicBezTo>
                  <a:pt x="1" y="208"/>
                  <a:pt x="1" y="462"/>
                  <a:pt x="127" y="588"/>
                </a:cubicBezTo>
                <a:lnTo>
                  <a:pt x="951" y="1538"/>
                </a:lnTo>
                <a:lnTo>
                  <a:pt x="127" y="2488"/>
                </a:lnTo>
                <a:cubicBezTo>
                  <a:pt x="1" y="2615"/>
                  <a:pt x="1" y="2868"/>
                  <a:pt x="159" y="2995"/>
                </a:cubicBezTo>
                <a:cubicBezTo>
                  <a:pt x="222" y="3058"/>
                  <a:pt x="317" y="3090"/>
                  <a:pt x="381" y="3090"/>
                </a:cubicBezTo>
                <a:cubicBezTo>
                  <a:pt x="508" y="3090"/>
                  <a:pt x="603" y="3027"/>
                  <a:pt x="666" y="2963"/>
                </a:cubicBezTo>
                <a:lnTo>
                  <a:pt x="1711" y="1760"/>
                </a:lnTo>
                <a:cubicBezTo>
                  <a:pt x="1806" y="1633"/>
                  <a:pt x="1806" y="1443"/>
                  <a:pt x="1711" y="1285"/>
                </a:cubicBezTo>
                <a:lnTo>
                  <a:pt x="666" y="113"/>
                </a:lnTo>
                <a:cubicBezTo>
                  <a:pt x="595" y="42"/>
                  <a:pt x="494" y="1"/>
                  <a:pt x="391"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06" name="Google Shape;206;p17"/>
          <p:cNvSpPr/>
          <p:nvPr/>
        </p:nvSpPr>
        <p:spPr>
          <a:xfrm>
            <a:off x="6197532" y="5996506"/>
            <a:ext cx="264705" cy="264705"/>
          </a:xfrm>
          <a:custGeom>
            <a:avLst/>
            <a:gdLst/>
            <a:ahLst/>
            <a:cxnLst/>
            <a:rect l="l" t="t" r="r" b="b"/>
            <a:pathLst>
              <a:path w="6810" h="6810" extrusionOk="0">
                <a:moveTo>
                  <a:pt x="3421" y="1"/>
                </a:moveTo>
                <a:cubicBezTo>
                  <a:pt x="1521" y="1"/>
                  <a:pt x="1" y="1521"/>
                  <a:pt x="1" y="3421"/>
                </a:cubicBezTo>
                <a:cubicBezTo>
                  <a:pt x="1" y="5289"/>
                  <a:pt x="1521" y="6810"/>
                  <a:pt x="3421" y="6810"/>
                </a:cubicBezTo>
                <a:cubicBezTo>
                  <a:pt x="5289" y="6810"/>
                  <a:pt x="6810" y="5289"/>
                  <a:pt x="6810" y="3421"/>
                </a:cubicBezTo>
                <a:cubicBezTo>
                  <a:pt x="6810" y="1521"/>
                  <a:pt x="5289" y="1"/>
                  <a:pt x="3421" y="1"/>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07" name="Google Shape;207;p17"/>
          <p:cNvSpPr/>
          <p:nvPr/>
        </p:nvSpPr>
        <p:spPr>
          <a:xfrm>
            <a:off x="6232008" y="6030982"/>
            <a:ext cx="195749" cy="195749"/>
          </a:xfrm>
          <a:custGeom>
            <a:avLst/>
            <a:gdLst/>
            <a:ahLst/>
            <a:cxnLst/>
            <a:rect l="l" t="t" r="r" b="b"/>
            <a:pathLst>
              <a:path w="5036" h="5036" extrusionOk="0">
                <a:moveTo>
                  <a:pt x="2502" y="0"/>
                </a:moveTo>
                <a:cubicBezTo>
                  <a:pt x="1140" y="0"/>
                  <a:pt x="0" y="1141"/>
                  <a:pt x="0" y="2534"/>
                </a:cubicBezTo>
                <a:cubicBezTo>
                  <a:pt x="0" y="3896"/>
                  <a:pt x="1140" y="5036"/>
                  <a:pt x="2502" y="5036"/>
                </a:cubicBezTo>
                <a:cubicBezTo>
                  <a:pt x="3896" y="5036"/>
                  <a:pt x="5036" y="3896"/>
                  <a:pt x="5036" y="2534"/>
                </a:cubicBezTo>
                <a:cubicBezTo>
                  <a:pt x="5036" y="1141"/>
                  <a:pt x="3896" y="0"/>
                  <a:pt x="2502" y="0"/>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08" name="Google Shape;208;p17"/>
          <p:cNvSpPr/>
          <p:nvPr/>
        </p:nvSpPr>
        <p:spPr>
          <a:xfrm>
            <a:off x="6304618" y="6069269"/>
            <a:ext cx="70239" cy="119331"/>
          </a:xfrm>
          <a:custGeom>
            <a:avLst/>
            <a:gdLst/>
            <a:ahLst/>
            <a:cxnLst/>
            <a:rect l="l" t="t" r="r" b="b"/>
            <a:pathLst>
              <a:path w="1807" h="3070" extrusionOk="0">
                <a:moveTo>
                  <a:pt x="409" y="1"/>
                </a:moveTo>
                <a:cubicBezTo>
                  <a:pt x="323" y="1"/>
                  <a:pt x="234" y="32"/>
                  <a:pt x="159" y="92"/>
                </a:cubicBezTo>
                <a:cubicBezTo>
                  <a:pt x="1" y="219"/>
                  <a:pt x="1" y="441"/>
                  <a:pt x="128" y="599"/>
                </a:cubicBezTo>
                <a:lnTo>
                  <a:pt x="951" y="1517"/>
                </a:lnTo>
                <a:lnTo>
                  <a:pt x="128" y="2467"/>
                </a:lnTo>
                <a:cubicBezTo>
                  <a:pt x="1" y="2626"/>
                  <a:pt x="1" y="2847"/>
                  <a:pt x="159" y="2974"/>
                </a:cubicBezTo>
                <a:cubicBezTo>
                  <a:pt x="223" y="3037"/>
                  <a:pt x="318" y="3069"/>
                  <a:pt x="381" y="3069"/>
                </a:cubicBezTo>
                <a:cubicBezTo>
                  <a:pt x="508" y="3069"/>
                  <a:pt x="603" y="3037"/>
                  <a:pt x="666" y="2942"/>
                </a:cubicBezTo>
                <a:lnTo>
                  <a:pt x="1711" y="1771"/>
                </a:lnTo>
                <a:cubicBezTo>
                  <a:pt x="1806" y="1644"/>
                  <a:pt x="1806" y="1422"/>
                  <a:pt x="1711" y="1296"/>
                </a:cubicBezTo>
                <a:lnTo>
                  <a:pt x="666" y="124"/>
                </a:lnTo>
                <a:cubicBezTo>
                  <a:pt x="599" y="40"/>
                  <a:pt x="506" y="1"/>
                  <a:pt x="40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09" name="Google Shape;209;p17"/>
          <p:cNvSpPr/>
          <p:nvPr/>
        </p:nvSpPr>
        <p:spPr>
          <a:xfrm>
            <a:off x="4097502" y="3874318"/>
            <a:ext cx="264705" cy="265948"/>
          </a:xfrm>
          <a:custGeom>
            <a:avLst/>
            <a:gdLst/>
            <a:ahLst/>
            <a:cxnLst/>
            <a:rect l="l" t="t" r="r" b="b"/>
            <a:pathLst>
              <a:path w="6810" h="6842" extrusionOk="0">
                <a:moveTo>
                  <a:pt x="6809" y="3421"/>
                </a:moveTo>
                <a:cubicBezTo>
                  <a:pt x="6809" y="5289"/>
                  <a:pt x="5289" y="6841"/>
                  <a:pt x="3420" y="6841"/>
                </a:cubicBezTo>
                <a:cubicBezTo>
                  <a:pt x="1520" y="6841"/>
                  <a:pt x="0" y="5289"/>
                  <a:pt x="0" y="3421"/>
                </a:cubicBezTo>
                <a:cubicBezTo>
                  <a:pt x="0" y="1521"/>
                  <a:pt x="1520" y="1"/>
                  <a:pt x="3420" y="1"/>
                </a:cubicBezTo>
                <a:cubicBezTo>
                  <a:pt x="5289" y="1"/>
                  <a:pt x="6809" y="1521"/>
                  <a:pt x="6809" y="3421"/>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0" name="Google Shape;210;p17"/>
          <p:cNvSpPr/>
          <p:nvPr/>
        </p:nvSpPr>
        <p:spPr>
          <a:xfrm>
            <a:off x="4131939" y="3908797"/>
            <a:ext cx="195788" cy="195749"/>
          </a:xfrm>
          <a:custGeom>
            <a:avLst/>
            <a:gdLst/>
            <a:ahLst/>
            <a:cxnLst/>
            <a:rect l="l" t="t" r="r" b="b"/>
            <a:pathLst>
              <a:path w="5037" h="5036" extrusionOk="0">
                <a:moveTo>
                  <a:pt x="2534" y="5036"/>
                </a:moveTo>
                <a:cubicBezTo>
                  <a:pt x="1141" y="5036"/>
                  <a:pt x="1" y="3927"/>
                  <a:pt x="1" y="2534"/>
                </a:cubicBezTo>
                <a:cubicBezTo>
                  <a:pt x="1" y="1140"/>
                  <a:pt x="1141" y="0"/>
                  <a:pt x="2534" y="0"/>
                </a:cubicBezTo>
                <a:cubicBezTo>
                  <a:pt x="3928" y="0"/>
                  <a:pt x="5036" y="1140"/>
                  <a:pt x="5036" y="2534"/>
                </a:cubicBezTo>
                <a:cubicBezTo>
                  <a:pt x="5036" y="3927"/>
                  <a:pt x="3928" y="5036"/>
                  <a:pt x="2534" y="5036"/>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1" name="Google Shape;211;p17"/>
          <p:cNvSpPr/>
          <p:nvPr/>
        </p:nvSpPr>
        <p:spPr>
          <a:xfrm>
            <a:off x="4168904" y="3972115"/>
            <a:ext cx="123101" cy="68411"/>
          </a:xfrm>
          <a:custGeom>
            <a:avLst/>
            <a:gdLst/>
            <a:ahLst/>
            <a:cxnLst/>
            <a:rect l="l" t="t" r="r" b="b"/>
            <a:pathLst>
              <a:path w="3167" h="1760" extrusionOk="0">
                <a:moveTo>
                  <a:pt x="402" y="1"/>
                </a:moveTo>
                <a:cubicBezTo>
                  <a:pt x="299" y="1"/>
                  <a:pt x="198" y="42"/>
                  <a:pt x="127" y="113"/>
                </a:cubicBezTo>
                <a:cubicBezTo>
                  <a:pt x="0" y="271"/>
                  <a:pt x="0" y="493"/>
                  <a:pt x="158" y="620"/>
                </a:cubicBezTo>
                <a:lnTo>
                  <a:pt x="1330" y="1665"/>
                </a:lnTo>
                <a:cubicBezTo>
                  <a:pt x="1393" y="1728"/>
                  <a:pt x="1488" y="1760"/>
                  <a:pt x="1583" y="1760"/>
                </a:cubicBezTo>
                <a:cubicBezTo>
                  <a:pt x="1647" y="1760"/>
                  <a:pt x="1742" y="1728"/>
                  <a:pt x="1805" y="1665"/>
                </a:cubicBezTo>
                <a:lnTo>
                  <a:pt x="2977" y="620"/>
                </a:lnTo>
                <a:cubicBezTo>
                  <a:pt x="3135" y="493"/>
                  <a:pt x="3167" y="271"/>
                  <a:pt x="3009" y="113"/>
                </a:cubicBezTo>
                <a:cubicBezTo>
                  <a:pt x="2937" y="42"/>
                  <a:pt x="2836" y="1"/>
                  <a:pt x="2733" y="1"/>
                </a:cubicBezTo>
                <a:cubicBezTo>
                  <a:pt x="2653" y="1"/>
                  <a:pt x="2571" y="26"/>
                  <a:pt x="2502" y="81"/>
                </a:cubicBezTo>
                <a:lnTo>
                  <a:pt x="1583" y="905"/>
                </a:lnTo>
                <a:lnTo>
                  <a:pt x="633" y="81"/>
                </a:lnTo>
                <a:cubicBezTo>
                  <a:pt x="564" y="26"/>
                  <a:pt x="482" y="1"/>
                  <a:pt x="402"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2" name="Google Shape;212;p17"/>
          <p:cNvSpPr/>
          <p:nvPr/>
        </p:nvSpPr>
        <p:spPr>
          <a:xfrm>
            <a:off x="7892574" y="4301462"/>
            <a:ext cx="264705" cy="264705"/>
          </a:xfrm>
          <a:custGeom>
            <a:avLst/>
            <a:gdLst/>
            <a:ahLst/>
            <a:cxnLst/>
            <a:rect l="l" t="t" r="r" b="b"/>
            <a:pathLst>
              <a:path w="6810" h="6810" extrusionOk="0">
                <a:moveTo>
                  <a:pt x="3421" y="1"/>
                </a:moveTo>
                <a:cubicBezTo>
                  <a:pt x="1521" y="1"/>
                  <a:pt x="1" y="1521"/>
                  <a:pt x="1" y="3389"/>
                </a:cubicBezTo>
                <a:cubicBezTo>
                  <a:pt x="1" y="5289"/>
                  <a:pt x="1521" y="6810"/>
                  <a:pt x="3421" y="6810"/>
                </a:cubicBezTo>
                <a:cubicBezTo>
                  <a:pt x="5290" y="6810"/>
                  <a:pt x="6810" y="5289"/>
                  <a:pt x="6810" y="3389"/>
                </a:cubicBezTo>
                <a:cubicBezTo>
                  <a:pt x="6810" y="1521"/>
                  <a:pt x="5290" y="1"/>
                  <a:pt x="3421" y="1"/>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3" name="Google Shape;213;p17"/>
          <p:cNvSpPr/>
          <p:nvPr/>
        </p:nvSpPr>
        <p:spPr>
          <a:xfrm>
            <a:off x="7927051" y="4335940"/>
            <a:ext cx="195788" cy="195749"/>
          </a:xfrm>
          <a:custGeom>
            <a:avLst/>
            <a:gdLst/>
            <a:ahLst/>
            <a:cxnLst/>
            <a:rect l="l" t="t" r="r" b="b"/>
            <a:pathLst>
              <a:path w="5037" h="5036" extrusionOk="0">
                <a:moveTo>
                  <a:pt x="2534" y="0"/>
                </a:moveTo>
                <a:cubicBezTo>
                  <a:pt x="1141" y="0"/>
                  <a:pt x="1" y="1109"/>
                  <a:pt x="1" y="2502"/>
                </a:cubicBezTo>
                <a:cubicBezTo>
                  <a:pt x="1" y="3896"/>
                  <a:pt x="1141" y="5036"/>
                  <a:pt x="2534" y="5036"/>
                </a:cubicBezTo>
                <a:cubicBezTo>
                  <a:pt x="3928" y="5036"/>
                  <a:pt x="5036" y="3896"/>
                  <a:pt x="5036" y="2502"/>
                </a:cubicBezTo>
                <a:cubicBezTo>
                  <a:pt x="5036" y="1109"/>
                  <a:pt x="3928" y="0"/>
                  <a:pt x="2534" y="0"/>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4" name="Google Shape;214;p17"/>
          <p:cNvSpPr/>
          <p:nvPr/>
        </p:nvSpPr>
        <p:spPr>
          <a:xfrm>
            <a:off x="7963978" y="4383942"/>
            <a:ext cx="121935" cy="68956"/>
          </a:xfrm>
          <a:custGeom>
            <a:avLst/>
            <a:gdLst/>
            <a:ahLst/>
            <a:cxnLst/>
            <a:rect l="l" t="t" r="r" b="b"/>
            <a:pathLst>
              <a:path w="3137" h="1774" extrusionOk="0">
                <a:moveTo>
                  <a:pt x="1568" y="1"/>
                </a:moveTo>
                <a:cubicBezTo>
                  <a:pt x="1481" y="1"/>
                  <a:pt x="1394" y="32"/>
                  <a:pt x="1331" y="96"/>
                </a:cubicBezTo>
                <a:lnTo>
                  <a:pt x="159" y="1141"/>
                </a:lnTo>
                <a:cubicBezTo>
                  <a:pt x="1" y="1267"/>
                  <a:pt x="1" y="1489"/>
                  <a:pt x="127" y="1647"/>
                </a:cubicBezTo>
                <a:cubicBezTo>
                  <a:pt x="194" y="1731"/>
                  <a:pt x="288" y="1770"/>
                  <a:pt x="384" y="1770"/>
                </a:cubicBezTo>
                <a:cubicBezTo>
                  <a:pt x="471" y="1770"/>
                  <a:pt x="559" y="1739"/>
                  <a:pt x="634" y="1679"/>
                </a:cubicBezTo>
                <a:lnTo>
                  <a:pt x="1553" y="856"/>
                </a:lnTo>
                <a:lnTo>
                  <a:pt x="2503" y="1679"/>
                </a:lnTo>
                <a:cubicBezTo>
                  <a:pt x="2566" y="1742"/>
                  <a:pt x="2661" y="1774"/>
                  <a:pt x="2756" y="1774"/>
                </a:cubicBezTo>
                <a:cubicBezTo>
                  <a:pt x="2851" y="1774"/>
                  <a:pt x="2946" y="1742"/>
                  <a:pt x="3009" y="1647"/>
                </a:cubicBezTo>
                <a:cubicBezTo>
                  <a:pt x="3136" y="1489"/>
                  <a:pt x="3136" y="1267"/>
                  <a:pt x="2978" y="1141"/>
                </a:cubicBezTo>
                <a:lnTo>
                  <a:pt x="1806" y="96"/>
                </a:lnTo>
                <a:cubicBezTo>
                  <a:pt x="1743" y="32"/>
                  <a:pt x="1655" y="1"/>
                  <a:pt x="1568"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5" name="Google Shape;215;p17"/>
          <p:cNvSpPr/>
          <p:nvPr/>
        </p:nvSpPr>
        <p:spPr>
          <a:xfrm>
            <a:off x="6547127" y="2944935"/>
            <a:ext cx="265948" cy="265948"/>
          </a:xfrm>
          <a:custGeom>
            <a:avLst/>
            <a:gdLst/>
            <a:ahLst/>
            <a:cxnLst/>
            <a:rect l="l" t="t" r="r" b="b"/>
            <a:pathLst>
              <a:path w="6842" h="6842" extrusionOk="0">
                <a:moveTo>
                  <a:pt x="3421" y="1"/>
                </a:moveTo>
                <a:cubicBezTo>
                  <a:pt x="1521" y="1"/>
                  <a:pt x="1" y="1521"/>
                  <a:pt x="1" y="3421"/>
                </a:cubicBezTo>
                <a:cubicBezTo>
                  <a:pt x="1" y="5289"/>
                  <a:pt x="1521" y="6841"/>
                  <a:pt x="3421" y="6841"/>
                </a:cubicBezTo>
                <a:cubicBezTo>
                  <a:pt x="5289" y="6841"/>
                  <a:pt x="6841" y="5289"/>
                  <a:pt x="6841" y="3421"/>
                </a:cubicBezTo>
                <a:cubicBezTo>
                  <a:pt x="6841" y="1521"/>
                  <a:pt x="5289" y="1"/>
                  <a:pt x="3421" y="1"/>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6" name="Google Shape;216;p17"/>
          <p:cNvSpPr/>
          <p:nvPr/>
        </p:nvSpPr>
        <p:spPr>
          <a:xfrm>
            <a:off x="6581604" y="2979416"/>
            <a:ext cx="195749" cy="195749"/>
          </a:xfrm>
          <a:custGeom>
            <a:avLst/>
            <a:gdLst/>
            <a:ahLst/>
            <a:cxnLst/>
            <a:rect l="l" t="t" r="r" b="b"/>
            <a:pathLst>
              <a:path w="5036" h="5036" extrusionOk="0">
                <a:moveTo>
                  <a:pt x="2534" y="0"/>
                </a:moveTo>
                <a:cubicBezTo>
                  <a:pt x="1141" y="0"/>
                  <a:pt x="0" y="1140"/>
                  <a:pt x="0" y="2534"/>
                </a:cubicBezTo>
                <a:cubicBezTo>
                  <a:pt x="0" y="3927"/>
                  <a:pt x="1141" y="5036"/>
                  <a:pt x="2534" y="5036"/>
                </a:cubicBezTo>
                <a:cubicBezTo>
                  <a:pt x="3927" y="5036"/>
                  <a:pt x="5036" y="3927"/>
                  <a:pt x="5036" y="2534"/>
                </a:cubicBezTo>
                <a:cubicBezTo>
                  <a:pt x="5036" y="1140"/>
                  <a:pt x="3927" y="0"/>
                  <a:pt x="2534" y="0"/>
                </a:cubicBezTo>
                <a:close/>
              </a:path>
            </a:pathLst>
          </a:custGeom>
          <a:solidFill>
            <a:schemeClr val="bg1"/>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7" name="Google Shape;217;p17"/>
          <p:cNvSpPr/>
          <p:nvPr/>
        </p:nvSpPr>
        <p:spPr>
          <a:xfrm>
            <a:off x="6629610" y="3017701"/>
            <a:ext cx="70199" cy="119292"/>
          </a:xfrm>
          <a:custGeom>
            <a:avLst/>
            <a:gdLst/>
            <a:ahLst/>
            <a:cxnLst/>
            <a:rect l="l" t="t" r="r" b="b"/>
            <a:pathLst>
              <a:path w="1806" h="3069" extrusionOk="0">
                <a:moveTo>
                  <a:pt x="1397" y="1"/>
                </a:moveTo>
                <a:cubicBezTo>
                  <a:pt x="1301" y="1"/>
                  <a:pt x="1207" y="40"/>
                  <a:pt x="1141" y="124"/>
                </a:cubicBezTo>
                <a:lnTo>
                  <a:pt x="96" y="1295"/>
                </a:lnTo>
                <a:cubicBezTo>
                  <a:pt x="1" y="1454"/>
                  <a:pt x="1" y="1644"/>
                  <a:pt x="96" y="1771"/>
                </a:cubicBezTo>
                <a:lnTo>
                  <a:pt x="1141" y="2942"/>
                </a:lnTo>
                <a:cubicBezTo>
                  <a:pt x="1204" y="3037"/>
                  <a:pt x="1331" y="3069"/>
                  <a:pt x="1426" y="3069"/>
                </a:cubicBezTo>
                <a:cubicBezTo>
                  <a:pt x="1489" y="3069"/>
                  <a:pt x="1584" y="3037"/>
                  <a:pt x="1647" y="2974"/>
                </a:cubicBezTo>
                <a:cubicBezTo>
                  <a:pt x="1806" y="2847"/>
                  <a:pt x="1806" y="2626"/>
                  <a:pt x="1679" y="2467"/>
                </a:cubicBezTo>
                <a:lnTo>
                  <a:pt x="856" y="1549"/>
                </a:lnTo>
                <a:lnTo>
                  <a:pt x="1679" y="599"/>
                </a:lnTo>
                <a:cubicBezTo>
                  <a:pt x="1806" y="440"/>
                  <a:pt x="1806" y="219"/>
                  <a:pt x="1647" y="92"/>
                </a:cubicBezTo>
                <a:cubicBezTo>
                  <a:pt x="1573" y="32"/>
                  <a:pt x="1484" y="1"/>
                  <a:pt x="1397"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19" name="Google Shape;219;p17"/>
          <p:cNvSpPr txBox="1"/>
          <p:nvPr/>
        </p:nvSpPr>
        <p:spPr>
          <a:xfrm>
            <a:off x="658001" y="2836667"/>
            <a:ext cx="551600" cy="5428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2800" kern="0">
                <a:solidFill>
                  <a:srgbClr val="FFFFFF"/>
                </a:solidFill>
                <a:cs typeface="+mn-ea"/>
                <a:sym typeface="+mn-lt"/>
              </a:rPr>
              <a:t>1</a:t>
            </a:r>
            <a:endParaRPr sz="2800" kern="0">
              <a:solidFill>
                <a:srgbClr val="FFFFFF"/>
              </a:solidFill>
              <a:cs typeface="+mn-ea"/>
              <a:sym typeface="+mn-lt"/>
            </a:endParaRPr>
          </a:p>
        </p:txBody>
      </p:sp>
      <p:sp>
        <p:nvSpPr>
          <p:cNvPr id="220" name="Google Shape;220;p17"/>
          <p:cNvSpPr/>
          <p:nvPr/>
        </p:nvSpPr>
        <p:spPr>
          <a:xfrm>
            <a:off x="632993" y="2852622"/>
            <a:ext cx="610609" cy="610609"/>
          </a:xfrm>
          <a:custGeom>
            <a:avLst/>
            <a:gdLst/>
            <a:ahLst/>
            <a:cxnLst/>
            <a:rect l="l" t="t" r="r" b="b"/>
            <a:pathLst>
              <a:path w="15709" h="15709" extrusionOk="0">
                <a:moveTo>
                  <a:pt x="7854" y="0"/>
                </a:moveTo>
                <a:cubicBezTo>
                  <a:pt x="3516" y="0"/>
                  <a:pt x="0" y="3516"/>
                  <a:pt x="0" y="7854"/>
                </a:cubicBezTo>
                <a:cubicBezTo>
                  <a:pt x="0" y="12193"/>
                  <a:pt x="3516" y="15708"/>
                  <a:pt x="7854" y="15708"/>
                </a:cubicBezTo>
                <a:cubicBezTo>
                  <a:pt x="12193" y="15708"/>
                  <a:pt x="15708" y="12193"/>
                  <a:pt x="15708" y="7854"/>
                </a:cubicBezTo>
                <a:cubicBezTo>
                  <a:pt x="15708" y="3516"/>
                  <a:pt x="12193" y="0"/>
                  <a:pt x="7854"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21" name="Google Shape;221;p17"/>
          <p:cNvSpPr/>
          <p:nvPr/>
        </p:nvSpPr>
        <p:spPr>
          <a:xfrm>
            <a:off x="609593" y="2829222"/>
            <a:ext cx="657369" cy="657369"/>
          </a:xfrm>
          <a:custGeom>
            <a:avLst/>
            <a:gdLst/>
            <a:ahLst/>
            <a:cxnLst/>
            <a:rect l="l" t="t" r="r" b="b"/>
            <a:pathLst>
              <a:path w="16912" h="16912" extrusionOk="0">
                <a:moveTo>
                  <a:pt x="8456" y="1172"/>
                </a:moveTo>
                <a:cubicBezTo>
                  <a:pt x="12447" y="1172"/>
                  <a:pt x="15709" y="4434"/>
                  <a:pt x="15709" y="8456"/>
                </a:cubicBezTo>
                <a:cubicBezTo>
                  <a:pt x="15709" y="12447"/>
                  <a:pt x="12447" y="15708"/>
                  <a:pt x="8456" y="15708"/>
                </a:cubicBezTo>
                <a:cubicBezTo>
                  <a:pt x="4434" y="15708"/>
                  <a:pt x="1172" y="12447"/>
                  <a:pt x="1172" y="8456"/>
                </a:cubicBezTo>
                <a:cubicBezTo>
                  <a:pt x="1172" y="4434"/>
                  <a:pt x="4434" y="1172"/>
                  <a:pt x="8456" y="1172"/>
                </a:cubicBezTo>
                <a:close/>
                <a:moveTo>
                  <a:pt x="8456" y="1"/>
                </a:moveTo>
                <a:cubicBezTo>
                  <a:pt x="3801" y="1"/>
                  <a:pt x="1" y="3801"/>
                  <a:pt x="1" y="8456"/>
                </a:cubicBezTo>
                <a:cubicBezTo>
                  <a:pt x="1" y="13112"/>
                  <a:pt x="3801" y="16912"/>
                  <a:pt x="8456" y="16912"/>
                </a:cubicBezTo>
                <a:cubicBezTo>
                  <a:pt x="13112" y="16912"/>
                  <a:pt x="16912" y="13112"/>
                  <a:pt x="16912" y="8456"/>
                </a:cubicBezTo>
                <a:cubicBezTo>
                  <a:pt x="16912" y="3801"/>
                  <a:pt x="13112" y="1"/>
                  <a:pt x="8456"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22" name="Google Shape;222;p17"/>
          <p:cNvSpPr/>
          <p:nvPr/>
        </p:nvSpPr>
        <p:spPr>
          <a:xfrm>
            <a:off x="740080" y="2988006"/>
            <a:ext cx="406269" cy="339529"/>
          </a:xfrm>
          <a:custGeom>
            <a:avLst/>
            <a:gdLst/>
            <a:ahLst/>
            <a:cxnLst/>
            <a:rect l="l" t="t" r="r" b="b"/>
            <a:pathLst>
              <a:path w="10452" h="8735" extrusionOk="0">
                <a:moveTo>
                  <a:pt x="4213" y="1933"/>
                </a:moveTo>
                <a:cubicBezTo>
                  <a:pt x="4371" y="1933"/>
                  <a:pt x="4466" y="2059"/>
                  <a:pt x="4466" y="2186"/>
                </a:cubicBezTo>
                <a:cubicBezTo>
                  <a:pt x="4466" y="2313"/>
                  <a:pt x="4371" y="2439"/>
                  <a:pt x="4213" y="2439"/>
                </a:cubicBezTo>
                <a:cubicBezTo>
                  <a:pt x="3769" y="2439"/>
                  <a:pt x="3389" y="2788"/>
                  <a:pt x="3389" y="3263"/>
                </a:cubicBezTo>
                <a:cubicBezTo>
                  <a:pt x="3389" y="3390"/>
                  <a:pt x="3262" y="3516"/>
                  <a:pt x="3136" y="3516"/>
                </a:cubicBezTo>
                <a:cubicBezTo>
                  <a:pt x="3009" y="3516"/>
                  <a:pt x="2882" y="3390"/>
                  <a:pt x="2882" y="3263"/>
                </a:cubicBezTo>
                <a:cubicBezTo>
                  <a:pt x="2914" y="2535"/>
                  <a:pt x="3484" y="1933"/>
                  <a:pt x="4213" y="1933"/>
                </a:cubicBezTo>
                <a:close/>
                <a:moveTo>
                  <a:pt x="7020" y="3147"/>
                </a:moveTo>
                <a:cubicBezTo>
                  <a:pt x="7073" y="3147"/>
                  <a:pt x="7121" y="3162"/>
                  <a:pt x="7158" y="3200"/>
                </a:cubicBezTo>
                <a:cubicBezTo>
                  <a:pt x="7221" y="3263"/>
                  <a:pt x="7253" y="3358"/>
                  <a:pt x="7221" y="3421"/>
                </a:cubicBezTo>
                <a:cubicBezTo>
                  <a:pt x="7094" y="4150"/>
                  <a:pt x="6493" y="4720"/>
                  <a:pt x="5764" y="4846"/>
                </a:cubicBezTo>
                <a:cubicBezTo>
                  <a:pt x="5543" y="5416"/>
                  <a:pt x="5004" y="5796"/>
                  <a:pt x="4403" y="5796"/>
                </a:cubicBezTo>
                <a:cubicBezTo>
                  <a:pt x="4244" y="5796"/>
                  <a:pt x="4149" y="5670"/>
                  <a:pt x="4149" y="5543"/>
                </a:cubicBezTo>
                <a:cubicBezTo>
                  <a:pt x="4149" y="5416"/>
                  <a:pt x="4276" y="5290"/>
                  <a:pt x="4403" y="5290"/>
                </a:cubicBezTo>
                <a:cubicBezTo>
                  <a:pt x="4751" y="5290"/>
                  <a:pt x="5068" y="5131"/>
                  <a:pt x="5226" y="4815"/>
                </a:cubicBezTo>
                <a:cubicBezTo>
                  <a:pt x="4846" y="4751"/>
                  <a:pt x="4466" y="4561"/>
                  <a:pt x="4213" y="4276"/>
                </a:cubicBezTo>
                <a:cubicBezTo>
                  <a:pt x="4118" y="4181"/>
                  <a:pt x="4118" y="4023"/>
                  <a:pt x="4213" y="3928"/>
                </a:cubicBezTo>
                <a:cubicBezTo>
                  <a:pt x="4271" y="3884"/>
                  <a:pt x="4330" y="3860"/>
                  <a:pt x="4386" y="3860"/>
                </a:cubicBezTo>
                <a:cubicBezTo>
                  <a:pt x="4450" y="3860"/>
                  <a:pt x="4510" y="3892"/>
                  <a:pt x="4561" y="3960"/>
                </a:cubicBezTo>
                <a:cubicBezTo>
                  <a:pt x="4814" y="4213"/>
                  <a:pt x="5163" y="4371"/>
                  <a:pt x="5511" y="4371"/>
                </a:cubicBezTo>
                <a:cubicBezTo>
                  <a:pt x="6113" y="4371"/>
                  <a:pt x="6651" y="3928"/>
                  <a:pt x="6746" y="3326"/>
                </a:cubicBezTo>
                <a:cubicBezTo>
                  <a:pt x="6778" y="3263"/>
                  <a:pt x="6841" y="3168"/>
                  <a:pt x="6904" y="3168"/>
                </a:cubicBezTo>
                <a:cubicBezTo>
                  <a:pt x="6944" y="3155"/>
                  <a:pt x="6983" y="3147"/>
                  <a:pt x="7020" y="3147"/>
                </a:cubicBezTo>
                <a:close/>
                <a:moveTo>
                  <a:pt x="6113" y="1"/>
                </a:moveTo>
                <a:cubicBezTo>
                  <a:pt x="5994" y="1"/>
                  <a:pt x="5875" y="33"/>
                  <a:pt x="5764" y="96"/>
                </a:cubicBezTo>
                <a:cubicBezTo>
                  <a:pt x="5543" y="223"/>
                  <a:pt x="5416" y="444"/>
                  <a:pt x="5416" y="698"/>
                </a:cubicBezTo>
                <a:cubicBezTo>
                  <a:pt x="5416" y="856"/>
                  <a:pt x="5321" y="951"/>
                  <a:pt x="5163" y="951"/>
                </a:cubicBezTo>
                <a:cubicBezTo>
                  <a:pt x="5036" y="951"/>
                  <a:pt x="4941" y="856"/>
                  <a:pt x="4941" y="698"/>
                </a:cubicBezTo>
                <a:cubicBezTo>
                  <a:pt x="4941" y="571"/>
                  <a:pt x="4973" y="413"/>
                  <a:pt x="5004" y="286"/>
                </a:cubicBezTo>
                <a:cubicBezTo>
                  <a:pt x="4751" y="128"/>
                  <a:pt x="4466" y="33"/>
                  <a:pt x="4149" y="33"/>
                </a:cubicBezTo>
                <a:cubicBezTo>
                  <a:pt x="3452" y="33"/>
                  <a:pt x="2851" y="476"/>
                  <a:pt x="2661" y="1173"/>
                </a:cubicBezTo>
                <a:cubicBezTo>
                  <a:pt x="2635" y="1278"/>
                  <a:pt x="2543" y="1339"/>
                  <a:pt x="2440" y="1339"/>
                </a:cubicBezTo>
                <a:cubicBezTo>
                  <a:pt x="2419" y="1339"/>
                  <a:pt x="2397" y="1337"/>
                  <a:pt x="2376" y="1331"/>
                </a:cubicBezTo>
                <a:cubicBezTo>
                  <a:pt x="2249" y="1299"/>
                  <a:pt x="2186" y="1173"/>
                  <a:pt x="2186" y="1046"/>
                </a:cubicBezTo>
                <a:cubicBezTo>
                  <a:pt x="2217" y="951"/>
                  <a:pt x="2249" y="856"/>
                  <a:pt x="2281" y="793"/>
                </a:cubicBezTo>
                <a:cubicBezTo>
                  <a:pt x="2217" y="761"/>
                  <a:pt x="2154" y="761"/>
                  <a:pt x="2091" y="761"/>
                </a:cubicBezTo>
                <a:cubicBezTo>
                  <a:pt x="1616" y="761"/>
                  <a:pt x="1204" y="1109"/>
                  <a:pt x="1141" y="1584"/>
                </a:cubicBezTo>
                <a:cubicBezTo>
                  <a:pt x="1489" y="1616"/>
                  <a:pt x="1806" y="1774"/>
                  <a:pt x="1996" y="2059"/>
                </a:cubicBezTo>
                <a:cubicBezTo>
                  <a:pt x="2091" y="2186"/>
                  <a:pt x="2059" y="2313"/>
                  <a:pt x="1964" y="2408"/>
                </a:cubicBezTo>
                <a:cubicBezTo>
                  <a:pt x="1925" y="2434"/>
                  <a:pt x="1874" y="2449"/>
                  <a:pt x="1822" y="2449"/>
                </a:cubicBezTo>
                <a:cubicBezTo>
                  <a:pt x="1749" y="2449"/>
                  <a:pt x="1671" y="2419"/>
                  <a:pt x="1616" y="2344"/>
                </a:cubicBezTo>
                <a:cubicBezTo>
                  <a:pt x="1502" y="2203"/>
                  <a:pt x="1338" y="2086"/>
                  <a:pt x="1146" y="2086"/>
                </a:cubicBezTo>
                <a:cubicBezTo>
                  <a:pt x="1123" y="2086"/>
                  <a:pt x="1100" y="2088"/>
                  <a:pt x="1077" y="2091"/>
                </a:cubicBezTo>
                <a:cubicBezTo>
                  <a:pt x="761" y="2091"/>
                  <a:pt x="476" y="2281"/>
                  <a:pt x="412" y="2598"/>
                </a:cubicBezTo>
                <a:cubicBezTo>
                  <a:pt x="317" y="2883"/>
                  <a:pt x="444" y="3200"/>
                  <a:pt x="729" y="3358"/>
                </a:cubicBezTo>
                <a:cubicBezTo>
                  <a:pt x="824" y="3421"/>
                  <a:pt x="856" y="3580"/>
                  <a:pt x="792" y="3706"/>
                </a:cubicBezTo>
                <a:cubicBezTo>
                  <a:pt x="751" y="3768"/>
                  <a:pt x="671" y="3803"/>
                  <a:pt x="593" y="3803"/>
                </a:cubicBezTo>
                <a:cubicBezTo>
                  <a:pt x="551" y="3803"/>
                  <a:pt x="509" y="3792"/>
                  <a:pt x="476" y="3770"/>
                </a:cubicBezTo>
                <a:cubicBezTo>
                  <a:pt x="381" y="3706"/>
                  <a:pt x="286" y="3643"/>
                  <a:pt x="191" y="3548"/>
                </a:cubicBezTo>
                <a:cubicBezTo>
                  <a:pt x="64" y="3801"/>
                  <a:pt x="1" y="4086"/>
                  <a:pt x="1" y="4371"/>
                </a:cubicBezTo>
                <a:cubicBezTo>
                  <a:pt x="1" y="5416"/>
                  <a:pt x="856" y="6271"/>
                  <a:pt x="1932" y="6271"/>
                </a:cubicBezTo>
                <a:cubicBezTo>
                  <a:pt x="2059" y="6271"/>
                  <a:pt x="2217" y="6240"/>
                  <a:pt x="2376" y="6208"/>
                </a:cubicBezTo>
                <a:cubicBezTo>
                  <a:pt x="2344" y="6081"/>
                  <a:pt x="2344" y="5986"/>
                  <a:pt x="2344" y="5860"/>
                </a:cubicBezTo>
                <a:cubicBezTo>
                  <a:pt x="2344" y="5828"/>
                  <a:pt x="2344" y="5828"/>
                  <a:pt x="2344" y="5796"/>
                </a:cubicBezTo>
                <a:cubicBezTo>
                  <a:pt x="1806" y="5796"/>
                  <a:pt x="1394" y="5353"/>
                  <a:pt x="1394" y="4815"/>
                </a:cubicBezTo>
                <a:cubicBezTo>
                  <a:pt x="1394" y="4688"/>
                  <a:pt x="1521" y="4593"/>
                  <a:pt x="1647" y="4593"/>
                </a:cubicBezTo>
                <a:cubicBezTo>
                  <a:pt x="1711" y="4593"/>
                  <a:pt x="1774" y="4593"/>
                  <a:pt x="1806" y="4656"/>
                </a:cubicBezTo>
                <a:cubicBezTo>
                  <a:pt x="1869" y="4688"/>
                  <a:pt x="1869" y="4751"/>
                  <a:pt x="1869" y="4815"/>
                </a:cubicBezTo>
                <a:cubicBezTo>
                  <a:pt x="1869" y="4973"/>
                  <a:pt x="1932" y="5100"/>
                  <a:pt x="2027" y="5195"/>
                </a:cubicBezTo>
                <a:cubicBezTo>
                  <a:pt x="2106" y="5273"/>
                  <a:pt x="2227" y="5330"/>
                  <a:pt x="2338" y="5330"/>
                </a:cubicBezTo>
                <a:cubicBezTo>
                  <a:pt x="2362" y="5330"/>
                  <a:pt x="2385" y="5327"/>
                  <a:pt x="2407" y="5321"/>
                </a:cubicBezTo>
                <a:cubicBezTo>
                  <a:pt x="2439" y="5195"/>
                  <a:pt x="2502" y="5036"/>
                  <a:pt x="2597" y="4910"/>
                </a:cubicBezTo>
                <a:cubicBezTo>
                  <a:pt x="2629" y="4846"/>
                  <a:pt x="2724" y="4783"/>
                  <a:pt x="2787" y="4783"/>
                </a:cubicBezTo>
                <a:cubicBezTo>
                  <a:pt x="2882" y="4783"/>
                  <a:pt x="2977" y="4846"/>
                  <a:pt x="3009" y="4910"/>
                </a:cubicBezTo>
                <a:cubicBezTo>
                  <a:pt x="3041" y="5005"/>
                  <a:pt x="3041" y="5100"/>
                  <a:pt x="3009" y="5163"/>
                </a:cubicBezTo>
                <a:cubicBezTo>
                  <a:pt x="2787" y="5511"/>
                  <a:pt x="2756" y="5923"/>
                  <a:pt x="2882" y="6303"/>
                </a:cubicBezTo>
                <a:cubicBezTo>
                  <a:pt x="3041" y="6746"/>
                  <a:pt x="3421" y="7095"/>
                  <a:pt x="3896" y="7190"/>
                </a:cubicBezTo>
                <a:cubicBezTo>
                  <a:pt x="3964" y="7199"/>
                  <a:pt x="4033" y="7203"/>
                  <a:pt x="4101" y="7203"/>
                </a:cubicBezTo>
                <a:cubicBezTo>
                  <a:pt x="4505" y="7203"/>
                  <a:pt x="4892" y="7045"/>
                  <a:pt x="5163" y="6746"/>
                </a:cubicBezTo>
                <a:cubicBezTo>
                  <a:pt x="5258" y="6651"/>
                  <a:pt x="5353" y="6651"/>
                  <a:pt x="5448" y="6651"/>
                </a:cubicBezTo>
                <a:cubicBezTo>
                  <a:pt x="5693" y="6774"/>
                  <a:pt x="5958" y="6821"/>
                  <a:pt x="6227" y="6821"/>
                </a:cubicBezTo>
                <a:cubicBezTo>
                  <a:pt x="6304" y="6821"/>
                  <a:pt x="6383" y="6817"/>
                  <a:pt x="6461" y="6810"/>
                </a:cubicBezTo>
                <a:cubicBezTo>
                  <a:pt x="6651" y="6810"/>
                  <a:pt x="6841" y="6778"/>
                  <a:pt x="6999" y="6715"/>
                </a:cubicBezTo>
                <a:cubicBezTo>
                  <a:pt x="7025" y="6706"/>
                  <a:pt x="7048" y="6702"/>
                  <a:pt x="7070" y="6702"/>
                </a:cubicBezTo>
                <a:cubicBezTo>
                  <a:pt x="7128" y="6702"/>
                  <a:pt x="7175" y="6732"/>
                  <a:pt x="7221" y="6778"/>
                </a:cubicBezTo>
                <a:cubicBezTo>
                  <a:pt x="7284" y="6841"/>
                  <a:pt x="7316" y="6936"/>
                  <a:pt x="7316" y="7000"/>
                </a:cubicBezTo>
                <a:cubicBezTo>
                  <a:pt x="7284" y="7095"/>
                  <a:pt x="7221" y="7158"/>
                  <a:pt x="7126" y="7190"/>
                </a:cubicBezTo>
                <a:cubicBezTo>
                  <a:pt x="6968" y="7221"/>
                  <a:pt x="6778" y="7253"/>
                  <a:pt x="6619" y="7285"/>
                </a:cubicBezTo>
                <a:cubicBezTo>
                  <a:pt x="6714" y="7570"/>
                  <a:pt x="6968" y="7792"/>
                  <a:pt x="7696" y="8013"/>
                </a:cubicBezTo>
                <a:cubicBezTo>
                  <a:pt x="8013" y="8108"/>
                  <a:pt x="8298" y="8330"/>
                  <a:pt x="8520" y="8583"/>
                </a:cubicBezTo>
                <a:cubicBezTo>
                  <a:pt x="8612" y="8676"/>
                  <a:pt x="8739" y="8735"/>
                  <a:pt x="8862" y="8735"/>
                </a:cubicBezTo>
                <a:cubicBezTo>
                  <a:pt x="8907" y="8735"/>
                  <a:pt x="8952" y="8727"/>
                  <a:pt x="8995" y="8710"/>
                </a:cubicBezTo>
                <a:cubicBezTo>
                  <a:pt x="9121" y="8647"/>
                  <a:pt x="9216" y="8488"/>
                  <a:pt x="9216" y="8362"/>
                </a:cubicBezTo>
                <a:cubicBezTo>
                  <a:pt x="9216" y="8298"/>
                  <a:pt x="9216" y="8267"/>
                  <a:pt x="9216" y="8235"/>
                </a:cubicBezTo>
                <a:cubicBezTo>
                  <a:pt x="9153" y="8045"/>
                  <a:pt x="9058" y="7855"/>
                  <a:pt x="8963" y="7665"/>
                </a:cubicBezTo>
                <a:cubicBezTo>
                  <a:pt x="8773" y="7760"/>
                  <a:pt x="8583" y="7792"/>
                  <a:pt x="8393" y="7823"/>
                </a:cubicBezTo>
                <a:lnTo>
                  <a:pt x="8330" y="7823"/>
                </a:lnTo>
                <a:cubicBezTo>
                  <a:pt x="8203" y="7823"/>
                  <a:pt x="8108" y="7728"/>
                  <a:pt x="8108" y="7602"/>
                </a:cubicBezTo>
                <a:cubicBezTo>
                  <a:pt x="8108" y="7475"/>
                  <a:pt x="8171" y="7380"/>
                  <a:pt x="8298" y="7348"/>
                </a:cubicBezTo>
                <a:cubicBezTo>
                  <a:pt x="8868" y="7253"/>
                  <a:pt x="9375" y="6936"/>
                  <a:pt x="9691" y="6430"/>
                </a:cubicBezTo>
                <a:lnTo>
                  <a:pt x="9691" y="6430"/>
                </a:lnTo>
                <a:cubicBezTo>
                  <a:pt x="9467" y="6514"/>
                  <a:pt x="9237" y="6555"/>
                  <a:pt x="9008" y="6555"/>
                </a:cubicBezTo>
                <a:cubicBezTo>
                  <a:pt x="8720" y="6555"/>
                  <a:pt x="8436" y="6490"/>
                  <a:pt x="8171" y="6366"/>
                </a:cubicBezTo>
                <a:cubicBezTo>
                  <a:pt x="8045" y="6271"/>
                  <a:pt x="7918" y="6208"/>
                  <a:pt x="7791" y="6113"/>
                </a:cubicBezTo>
                <a:cubicBezTo>
                  <a:pt x="7668" y="6162"/>
                  <a:pt x="7541" y="6186"/>
                  <a:pt x="7416" y="6186"/>
                </a:cubicBezTo>
                <a:cubicBezTo>
                  <a:pt x="7057" y="6186"/>
                  <a:pt x="6712" y="5990"/>
                  <a:pt x="6524" y="5638"/>
                </a:cubicBezTo>
                <a:cubicBezTo>
                  <a:pt x="6461" y="5511"/>
                  <a:pt x="6524" y="5385"/>
                  <a:pt x="6651" y="5321"/>
                </a:cubicBezTo>
                <a:cubicBezTo>
                  <a:pt x="6683" y="5300"/>
                  <a:pt x="6721" y="5290"/>
                  <a:pt x="6761" y="5290"/>
                </a:cubicBezTo>
                <a:cubicBezTo>
                  <a:pt x="6841" y="5290"/>
                  <a:pt x="6926" y="5332"/>
                  <a:pt x="6968" y="5416"/>
                </a:cubicBezTo>
                <a:cubicBezTo>
                  <a:pt x="7031" y="5543"/>
                  <a:pt x="7158" y="5638"/>
                  <a:pt x="7284" y="5670"/>
                </a:cubicBezTo>
                <a:cubicBezTo>
                  <a:pt x="7342" y="5681"/>
                  <a:pt x="7396" y="5689"/>
                  <a:pt x="7447" y="5689"/>
                </a:cubicBezTo>
                <a:cubicBezTo>
                  <a:pt x="7536" y="5689"/>
                  <a:pt x="7616" y="5667"/>
                  <a:pt x="7696" y="5606"/>
                </a:cubicBezTo>
                <a:cubicBezTo>
                  <a:pt x="7918" y="5480"/>
                  <a:pt x="7981" y="5195"/>
                  <a:pt x="7855" y="4973"/>
                </a:cubicBezTo>
                <a:cubicBezTo>
                  <a:pt x="7823" y="4846"/>
                  <a:pt x="7855" y="4720"/>
                  <a:pt x="7981" y="4656"/>
                </a:cubicBezTo>
                <a:cubicBezTo>
                  <a:pt x="8023" y="4635"/>
                  <a:pt x="8066" y="4625"/>
                  <a:pt x="8106" y="4625"/>
                </a:cubicBezTo>
                <a:cubicBezTo>
                  <a:pt x="8185" y="4625"/>
                  <a:pt x="8256" y="4667"/>
                  <a:pt x="8298" y="4751"/>
                </a:cubicBezTo>
                <a:cubicBezTo>
                  <a:pt x="8456" y="5100"/>
                  <a:pt x="8425" y="5511"/>
                  <a:pt x="8203" y="5796"/>
                </a:cubicBezTo>
                <a:cubicBezTo>
                  <a:pt x="8266" y="5860"/>
                  <a:pt x="8330" y="5891"/>
                  <a:pt x="8393" y="5923"/>
                </a:cubicBezTo>
                <a:cubicBezTo>
                  <a:pt x="8587" y="6026"/>
                  <a:pt x="8798" y="6075"/>
                  <a:pt x="9008" y="6075"/>
                </a:cubicBezTo>
                <a:cubicBezTo>
                  <a:pt x="9379" y="6075"/>
                  <a:pt x="9745" y="5921"/>
                  <a:pt x="10008" y="5638"/>
                </a:cubicBezTo>
                <a:cubicBezTo>
                  <a:pt x="10356" y="5258"/>
                  <a:pt x="10451" y="4688"/>
                  <a:pt x="10230" y="4213"/>
                </a:cubicBezTo>
                <a:lnTo>
                  <a:pt x="10230" y="4213"/>
                </a:lnTo>
                <a:cubicBezTo>
                  <a:pt x="10166" y="4276"/>
                  <a:pt x="10071" y="4340"/>
                  <a:pt x="9976" y="4403"/>
                </a:cubicBezTo>
                <a:cubicBezTo>
                  <a:pt x="9946" y="4410"/>
                  <a:pt x="9915" y="4414"/>
                  <a:pt x="9883" y="4414"/>
                </a:cubicBezTo>
                <a:cubicBezTo>
                  <a:pt x="9782" y="4414"/>
                  <a:pt x="9684" y="4373"/>
                  <a:pt x="9660" y="4276"/>
                </a:cubicBezTo>
                <a:cubicBezTo>
                  <a:pt x="9596" y="4150"/>
                  <a:pt x="9628" y="4023"/>
                  <a:pt x="9755" y="3960"/>
                </a:cubicBezTo>
                <a:cubicBezTo>
                  <a:pt x="9881" y="3896"/>
                  <a:pt x="10008" y="3801"/>
                  <a:pt x="10071" y="3675"/>
                </a:cubicBezTo>
                <a:cubicBezTo>
                  <a:pt x="10230" y="3390"/>
                  <a:pt x="10166" y="3010"/>
                  <a:pt x="9945" y="2820"/>
                </a:cubicBezTo>
                <a:cubicBezTo>
                  <a:pt x="9803" y="2696"/>
                  <a:pt x="9623" y="2631"/>
                  <a:pt x="9447" y="2631"/>
                </a:cubicBezTo>
                <a:cubicBezTo>
                  <a:pt x="9307" y="2631"/>
                  <a:pt x="9170" y="2672"/>
                  <a:pt x="9058" y="2756"/>
                </a:cubicBezTo>
                <a:cubicBezTo>
                  <a:pt x="9018" y="2796"/>
                  <a:pt x="8967" y="2814"/>
                  <a:pt x="8915" y="2814"/>
                </a:cubicBezTo>
                <a:cubicBezTo>
                  <a:pt x="8841" y="2814"/>
                  <a:pt x="8765" y="2780"/>
                  <a:pt x="8710" y="2725"/>
                </a:cubicBezTo>
                <a:cubicBezTo>
                  <a:pt x="8646" y="2630"/>
                  <a:pt x="8646" y="2471"/>
                  <a:pt x="8773" y="2376"/>
                </a:cubicBezTo>
                <a:cubicBezTo>
                  <a:pt x="8900" y="2281"/>
                  <a:pt x="9026" y="2218"/>
                  <a:pt x="9185" y="2186"/>
                </a:cubicBezTo>
                <a:cubicBezTo>
                  <a:pt x="8995" y="1268"/>
                  <a:pt x="8203" y="603"/>
                  <a:pt x="7284" y="571"/>
                </a:cubicBezTo>
                <a:cubicBezTo>
                  <a:pt x="7284" y="634"/>
                  <a:pt x="7284" y="666"/>
                  <a:pt x="7284" y="698"/>
                </a:cubicBezTo>
                <a:cubicBezTo>
                  <a:pt x="7284" y="856"/>
                  <a:pt x="7189" y="951"/>
                  <a:pt x="7031" y="951"/>
                </a:cubicBezTo>
                <a:cubicBezTo>
                  <a:pt x="6904" y="951"/>
                  <a:pt x="6809" y="856"/>
                  <a:pt x="6809" y="698"/>
                </a:cubicBezTo>
                <a:cubicBezTo>
                  <a:pt x="6809" y="444"/>
                  <a:pt x="6683" y="223"/>
                  <a:pt x="6461" y="96"/>
                </a:cubicBezTo>
                <a:cubicBezTo>
                  <a:pt x="6350" y="33"/>
                  <a:pt x="6231" y="1"/>
                  <a:pt x="6113"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24" name="Google Shape;224;p17"/>
          <p:cNvSpPr/>
          <p:nvPr/>
        </p:nvSpPr>
        <p:spPr>
          <a:xfrm>
            <a:off x="10948405" y="2852622"/>
            <a:ext cx="610609" cy="610609"/>
          </a:xfrm>
          <a:custGeom>
            <a:avLst/>
            <a:gdLst/>
            <a:ahLst/>
            <a:cxnLst/>
            <a:rect l="l" t="t" r="r" b="b"/>
            <a:pathLst>
              <a:path w="15709" h="15709" extrusionOk="0">
                <a:moveTo>
                  <a:pt x="7855" y="0"/>
                </a:moveTo>
                <a:cubicBezTo>
                  <a:pt x="3516" y="0"/>
                  <a:pt x="1" y="3516"/>
                  <a:pt x="1" y="7854"/>
                </a:cubicBezTo>
                <a:cubicBezTo>
                  <a:pt x="1" y="12193"/>
                  <a:pt x="3516" y="15708"/>
                  <a:pt x="7855" y="15708"/>
                </a:cubicBezTo>
                <a:cubicBezTo>
                  <a:pt x="12193" y="15708"/>
                  <a:pt x="15709" y="12193"/>
                  <a:pt x="15709" y="7854"/>
                </a:cubicBezTo>
                <a:cubicBezTo>
                  <a:pt x="15709" y="3516"/>
                  <a:pt x="12193" y="0"/>
                  <a:pt x="7855" y="0"/>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25" name="Google Shape;225;p17"/>
          <p:cNvSpPr/>
          <p:nvPr/>
        </p:nvSpPr>
        <p:spPr>
          <a:xfrm>
            <a:off x="10925044" y="2829222"/>
            <a:ext cx="657369" cy="657369"/>
          </a:xfrm>
          <a:custGeom>
            <a:avLst/>
            <a:gdLst/>
            <a:ahLst/>
            <a:cxnLst/>
            <a:rect l="l" t="t" r="r" b="b"/>
            <a:pathLst>
              <a:path w="16912" h="16912" extrusionOk="0">
                <a:moveTo>
                  <a:pt x="8456" y="1172"/>
                </a:moveTo>
                <a:cubicBezTo>
                  <a:pt x="12446" y="1172"/>
                  <a:pt x="15708" y="4434"/>
                  <a:pt x="15708" y="8456"/>
                </a:cubicBezTo>
                <a:cubicBezTo>
                  <a:pt x="15708" y="12447"/>
                  <a:pt x="12446" y="15708"/>
                  <a:pt x="8456" y="15708"/>
                </a:cubicBezTo>
                <a:cubicBezTo>
                  <a:pt x="4434" y="15708"/>
                  <a:pt x="1172" y="12447"/>
                  <a:pt x="1172" y="8456"/>
                </a:cubicBezTo>
                <a:cubicBezTo>
                  <a:pt x="1172" y="4434"/>
                  <a:pt x="4434" y="1172"/>
                  <a:pt x="8456" y="1172"/>
                </a:cubicBezTo>
                <a:close/>
                <a:moveTo>
                  <a:pt x="8456" y="1"/>
                </a:moveTo>
                <a:cubicBezTo>
                  <a:pt x="3800" y="1"/>
                  <a:pt x="0" y="3801"/>
                  <a:pt x="0" y="8456"/>
                </a:cubicBezTo>
                <a:cubicBezTo>
                  <a:pt x="0" y="13112"/>
                  <a:pt x="3800" y="16912"/>
                  <a:pt x="8456" y="16912"/>
                </a:cubicBezTo>
                <a:cubicBezTo>
                  <a:pt x="13111" y="16912"/>
                  <a:pt x="16911" y="13112"/>
                  <a:pt x="16911" y="8456"/>
                </a:cubicBezTo>
                <a:cubicBezTo>
                  <a:pt x="16911" y="3801"/>
                  <a:pt x="13111" y="1"/>
                  <a:pt x="8456"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26" name="Google Shape;226;p17"/>
          <p:cNvSpPr/>
          <p:nvPr/>
        </p:nvSpPr>
        <p:spPr>
          <a:xfrm>
            <a:off x="11083825" y="2988006"/>
            <a:ext cx="339763" cy="339801"/>
          </a:xfrm>
          <a:custGeom>
            <a:avLst/>
            <a:gdLst/>
            <a:ahLst/>
            <a:cxnLst/>
            <a:rect l="l" t="t" r="r" b="b"/>
            <a:pathLst>
              <a:path w="8741" h="8742" extrusionOk="0">
                <a:moveTo>
                  <a:pt x="4371" y="2471"/>
                </a:moveTo>
                <a:cubicBezTo>
                  <a:pt x="5416" y="2471"/>
                  <a:pt x="6271" y="3326"/>
                  <a:pt x="6271" y="4371"/>
                </a:cubicBezTo>
                <a:cubicBezTo>
                  <a:pt x="6271" y="5416"/>
                  <a:pt x="5416" y="6271"/>
                  <a:pt x="4371" y="6271"/>
                </a:cubicBezTo>
                <a:cubicBezTo>
                  <a:pt x="3326" y="6271"/>
                  <a:pt x="2471" y="5416"/>
                  <a:pt x="2471" y="4371"/>
                </a:cubicBezTo>
                <a:cubicBezTo>
                  <a:pt x="2471" y="3326"/>
                  <a:pt x="3326" y="2471"/>
                  <a:pt x="4371" y="2471"/>
                </a:cubicBezTo>
                <a:close/>
                <a:moveTo>
                  <a:pt x="4086" y="1"/>
                </a:moveTo>
                <a:cubicBezTo>
                  <a:pt x="3642" y="1"/>
                  <a:pt x="3294" y="349"/>
                  <a:pt x="3294" y="793"/>
                </a:cubicBezTo>
                <a:lnTo>
                  <a:pt x="3294" y="983"/>
                </a:lnTo>
                <a:cubicBezTo>
                  <a:pt x="3104" y="1046"/>
                  <a:pt x="2914" y="1141"/>
                  <a:pt x="2756" y="1204"/>
                </a:cubicBezTo>
                <a:lnTo>
                  <a:pt x="2629" y="1078"/>
                </a:lnTo>
                <a:cubicBezTo>
                  <a:pt x="2475" y="924"/>
                  <a:pt x="2268" y="852"/>
                  <a:pt x="2063" y="852"/>
                </a:cubicBezTo>
                <a:cubicBezTo>
                  <a:pt x="1848" y="852"/>
                  <a:pt x="1635" y="931"/>
                  <a:pt x="1489" y="1078"/>
                </a:cubicBezTo>
                <a:lnTo>
                  <a:pt x="1077" y="1489"/>
                </a:lnTo>
                <a:cubicBezTo>
                  <a:pt x="792" y="1774"/>
                  <a:pt x="760" y="2281"/>
                  <a:pt x="1077" y="2598"/>
                </a:cubicBezTo>
                <a:lnTo>
                  <a:pt x="1235" y="2756"/>
                </a:lnTo>
                <a:cubicBezTo>
                  <a:pt x="1140" y="2915"/>
                  <a:pt x="1045" y="3105"/>
                  <a:pt x="982" y="3295"/>
                </a:cubicBezTo>
                <a:lnTo>
                  <a:pt x="792" y="3295"/>
                </a:lnTo>
                <a:cubicBezTo>
                  <a:pt x="349" y="3295"/>
                  <a:pt x="0" y="3643"/>
                  <a:pt x="0" y="4086"/>
                </a:cubicBezTo>
                <a:lnTo>
                  <a:pt x="0" y="4625"/>
                </a:lnTo>
                <a:cubicBezTo>
                  <a:pt x="0" y="5068"/>
                  <a:pt x="349" y="5448"/>
                  <a:pt x="792" y="5448"/>
                </a:cubicBezTo>
                <a:lnTo>
                  <a:pt x="982" y="5448"/>
                </a:lnTo>
                <a:cubicBezTo>
                  <a:pt x="1045" y="5638"/>
                  <a:pt x="1140" y="5828"/>
                  <a:pt x="1235" y="5986"/>
                </a:cubicBezTo>
                <a:lnTo>
                  <a:pt x="1077" y="6113"/>
                </a:lnTo>
                <a:cubicBezTo>
                  <a:pt x="760" y="6430"/>
                  <a:pt x="792" y="6936"/>
                  <a:pt x="1077" y="7253"/>
                </a:cubicBezTo>
                <a:lnTo>
                  <a:pt x="1489" y="7633"/>
                </a:lnTo>
                <a:cubicBezTo>
                  <a:pt x="1631" y="7792"/>
                  <a:pt x="1837" y="7871"/>
                  <a:pt x="2047" y="7871"/>
                </a:cubicBezTo>
                <a:cubicBezTo>
                  <a:pt x="2257" y="7871"/>
                  <a:pt x="2471" y="7792"/>
                  <a:pt x="2629" y="7633"/>
                </a:cubicBezTo>
                <a:lnTo>
                  <a:pt x="2756" y="7507"/>
                </a:lnTo>
                <a:cubicBezTo>
                  <a:pt x="2914" y="7602"/>
                  <a:pt x="3104" y="7665"/>
                  <a:pt x="3294" y="7728"/>
                </a:cubicBezTo>
                <a:lnTo>
                  <a:pt x="3294" y="7918"/>
                </a:lnTo>
                <a:cubicBezTo>
                  <a:pt x="3294" y="8362"/>
                  <a:pt x="3642" y="8742"/>
                  <a:pt x="4086" y="8742"/>
                </a:cubicBezTo>
                <a:lnTo>
                  <a:pt x="4656" y="8742"/>
                </a:lnTo>
                <a:cubicBezTo>
                  <a:pt x="5099" y="8742"/>
                  <a:pt x="5447" y="8362"/>
                  <a:pt x="5447" y="7918"/>
                </a:cubicBezTo>
                <a:lnTo>
                  <a:pt x="5447" y="7728"/>
                </a:lnTo>
                <a:cubicBezTo>
                  <a:pt x="5637" y="7665"/>
                  <a:pt x="5827" y="7602"/>
                  <a:pt x="5986" y="7507"/>
                </a:cubicBezTo>
                <a:lnTo>
                  <a:pt x="6112" y="7633"/>
                </a:lnTo>
                <a:cubicBezTo>
                  <a:pt x="6271" y="7792"/>
                  <a:pt x="6477" y="7871"/>
                  <a:pt x="6682" y="7871"/>
                </a:cubicBezTo>
                <a:cubicBezTo>
                  <a:pt x="6888" y="7871"/>
                  <a:pt x="7094" y="7792"/>
                  <a:pt x="7253" y="7633"/>
                </a:cubicBezTo>
                <a:lnTo>
                  <a:pt x="7633" y="7253"/>
                </a:lnTo>
                <a:cubicBezTo>
                  <a:pt x="7949" y="6936"/>
                  <a:pt x="7949" y="6430"/>
                  <a:pt x="7633" y="6113"/>
                </a:cubicBezTo>
                <a:lnTo>
                  <a:pt x="7506" y="5986"/>
                </a:lnTo>
                <a:cubicBezTo>
                  <a:pt x="7601" y="5828"/>
                  <a:pt x="7664" y="5638"/>
                  <a:pt x="7728" y="5448"/>
                </a:cubicBezTo>
                <a:lnTo>
                  <a:pt x="7918" y="5448"/>
                </a:lnTo>
                <a:cubicBezTo>
                  <a:pt x="8361" y="5448"/>
                  <a:pt x="8741" y="5068"/>
                  <a:pt x="8741" y="4625"/>
                </a:cubicBezTo>
                <a:lnTo>
                  <a:pt x="8741" y="4086"/>
                </a:lnTo>
                <a:cubicBezTo>
                  <a:pt x="8741" y="3643"/>
                  <a:pt x="8361" y="3295"/>
                  <a:pt x="7918" y="3295"/>
                </a:cubicBezTo>
                <a:lnTo>
                  <a:pt x="7728" y="3295"/>
                </a:lnTo>
                <a:cubicBezTo>
                  <a:pt x="7696" y="3105"/>
                  <a:pt x="7601" y="2915"/>
                  <a:pt x="7506" y="2756"/>
                </a:cubicBezTo>
                <a:lnTo>
                  <a:pt x="7633" y="2598"/>
                </a:lnTo>
                <a:cubicBezTo>
                  <a:pt x="7949" y="2281"/>
                  <a:pt x="7949" y="1774"/>
                  <a:pt x="7633" y="1489"/>
                </a:cubicBezTo>
                <a:lnTo>
                  <a:pt x="7253" y="1078"/>
                </a:lnTo>
                <a:cubicBezTo>
                  <a:pt x="7090" y="931"/>
                  <a:pt x="6878" y="852"/>
                  <a:pt x="6666" y="852"/>
                </a:cubicBezTo>
                <a:cubicBezTo>
                  <a:pt x="6466" y="852"/>
                  <a:pt x="6267" y="924"/>
                  <a:pt x="6112" y="1078"/>
                </a:cubicBezTo>
                <a:lnTo>
                  <a:pt x="5986" y="1204"/>
                </a:lnTo>
                <a:cubicBezTo>
                  <a:pt x="5827" y="1141"/>
                  <a:pt x="5637" y="1046"/>
                  <a:pt x="5447" y="983"/>
                </a:cubicBezTo>
                <a:lnTo>
                  <a:pt x="5447" y="793"/>
                </a:lnTo>
                <a:cubicBezTo>
                  <a:pt x="5447" y="349"/>
                  <a:pt x="5099" y="1"/>
                  <a:pt x="4656"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28" name="Google Shape;228;p17"/>
          <p:cNvSpPr/>
          <p:nvPr/>
        </p:nvSpPr>
        <p:spPr>
          <a:xfrm>
            <a:off x="10948405" y="4556294"/>
            <a:ext cx="610609" cy="610569"/>
          </a:xfrm>
          <a:custGeom>
            <a:avLst/>
            <a:gdLst/>
            <a:ahLst/>
            <a:cxnLst/>
            <a:rect l="l" t="t" r="r" b="b"/>
            <a:pathLst>
              <a:path w="15709" h="15708" extrusionOk="0">
                <a:moveTo>
                  <a:pt x="7855" y="0"/>
                </a:moveTo>
                <a:cubicBezTo>
                  <a:pt x="3516" y="0"/>
                  <a:pt x="1" y="3515"/>
                  <a:pt x="1" y="7854"/>
                </a:cubicBezTo>
                <a:cubicBezTo>
                  <a:pt x="1" y="12193"/>
                  <a:pt x="3516" y="15708"/>
                  <a:pt x="7855" y="15708"/>
                </a:cubicBezTo>
                <a:cubicBezTo>
                  <a:pt x="12193" y="15708"/>
                  <a:pt x="15709" y="12193"/>
                  <a:pt x="15709" y="7854"/>
                </a:cubicBezTo>
                <a:cubicBezTo>
                  <a:pt x="15709" y="3515"/>
                  <a:pt x="12193" y="0"/>
                  <a:pt x="7855" y="0"/>
                </a:cubicBezTo>
                <a:close/>
              </a:path>
            </a:pathLst>
          </a:custGeom>
          <a:gradFill>
            <a:gsLst>
              <a:gs pos="0">
                <a:srgbClr val="960E4F"/>
              </a:gs>
              <a:gs pos="100000">
                <a:srgbClr val="721B65"/>
              </a:gs>
            </a:gsLst>
            <a:lin ang="5400700" scaled="0"/>
          </a:gra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29" name="Google Shape;229;p17"/>
          <p:cNvSpPr/>
          <p:nvPr/>
        </p:nvSpPr>
        <p:spPr>
          <a:xfrm>
            <a:off x="10925044" y="4532894"/>
            <a:ext cx="657369" cy="657369"/>
          </a:xfrm>
          <a:custGeom>
            <a:avLst/>
            <a:gdLst/>
            <a:ahLst/>
            <a:cxnLst/>
            <a:rect l="l" t="t" r="r" b="b"/>
            <a:pathLst>
              <a:path w="16912" h="16912" extrusionOk="0">
                <a:moveTo>
                  <a:pt x="8456" y="1204"/>
                </a:moveTo>
                <a:cubicBezTo>
                  <a:pt x="12446" y="1204"/>
                  <a:pt x="15708" y="4434"/>
                  <a:pt x="15708" y="8456"/>
                </a:cubicBezTo>
                <a:cubicBezTo>
                  <a:pt x="15708" y="12478"/>
                  <a:pt x="12446" y="15708"/>
                  <a:pt x="8456" y="15708"/>
                </a:cubicBezTo>
                <a:cubicBezTo>
                  <a:pt x="4434" y="15708"/>
                  <a:pt x="1172" y="12478"/>
                  <a:pt x="1172" y="8456"/>
                </a:cubicBezTo>
                <a:cubicBezTo>
                  <a:pt x="1172" y="4434"/>
                  <a:pt x="4434" y="1204"/>
                  <a:pt x="8456" y="1204"/>
                </a:cubicBezTo>
                <a:close/>
                <a:moveTo>
                  <a:pt x="8456" y="0"/>
                </a:moveTo>
                <a:cubicBezTo>
                  <a:pt x="3800" y="0"/>
                  <a:pt x="0" y="3801"/>
                  <a:pt x="0" y="8456"/>
                </a:cubicBezTo>
                <a:cubicBezTo>
                  <a:pt x="0" y="13111"/>
                  <a:pt x="3800" y="16912"/>
                  <a:pt x="8456" y="16912"/>
                </a:cubicBezTo>
                <a:cubicBezTo>
                  <a:pt x="13111" y="16912"/>
                  <a:pt x="16911" y="13111"/>
                  <a:pt x="16911" y="8456"/>
                </a:cubicBezTo>
                <a:cubicBezTo>
                  <a:pt x="16911" y="3801"/>
                  <a:pt x="13111" y="0"/>
                  <a:pt x="8456"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0" name="Google Shape;230;p17"/>
          <p:cNvSpPr/>
          <p:nvPr/>
        </p:nvSpPr>
        <p:spPr>
          <a:xfrm>
            <a:off x="11279538" y="4676907"/>
            <a:ext cx="158823" cy="158823"/>
          </a:xfrm>
          <a:custGeom>
            <a:avLst/>
            <a:gdLst/>
            <a:ahLst/>
            <a:cxnLst/>
            <a:rect l="l" t="t" r="r" b="b"/>
            <a:pathLst>
              <a:path w="4086" h="4086" extrusionOk="0">
                <a:moveTo>
                  <a:pt x="254" y="1"/>
                </a:moveTo>
                <a:cubicBezTo>
                  <a:pt x="127" y="1"/>
                  <a:pt x="1" y="96"/>
                  <a:pt x="1" y="254"/>
                </a:cubicBezTo>
                <a:lnTo>
                  <a:pt x="1" y="3833"/>
                </a:lnTo>
                <a:cubicBezTo>
                  <a:pt x="1" y="3991"/>
                  <a:pt x="127" y="4086"/>
                  <a:pt x="254" y="4086"/>
                </a:cubicBezTo>
                <a:lnTo>
                  <a:pt x="3833" y="4086"/>
                </a:lnTo>
                <a:cubicBezTo>
                  <a:pt x="3991" y="4086"/>
                  <a:pt x="4086" y="3991"/>
                  <a:pt x="4086" y="3833"/>
                </a:cubicBezTo>
                <a:cubicBezTo>
                  <a:pt x="4086" y="1742"/>
                  <a:pt x="2376" y="1"/>
                  <a:pt x="254"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1" name="Google Shape;231;p17"/>
          <p:cNvSpPr/>
          <p:nvPr/>
        </p:nvSpPr>
        <p:spPr>
          <a:xfrm>
            <a:off x="11083827" y="4732298"/>
            <a:ext cx="210520" cy="299183"/>
          </a:xfrm>
          <a:custGeom>
            <a:avLst/>
            <a:gdLst/>
            <a:ahLst/>
            <a:cxnLst/>
            <a:rect l="l" t="t" r="r" b="b"/>
            <a:pathLst>
              <a:path w="5416" h="7697" extrusionOk="0">
                <a:moveTo>
                  <a:pt x="3864" y="1"/>
                </a:moveTo>
                <a:cubicBezTo>
                  <a:pt x="1742" y="1"/>
                  <a:pt x="0" y="1711"/>
                  <a:pt x="0" y="3833"/>
                </a:cubicBezTo>
                <a:cubicBezTo>
                  <a:pt x="0" y="5955"/>
                  <a:pt x="1742" y="7696"/>
                  <a:pt x="3864" y="7696"/>
                </a:cubicBezTo>
                <a:cubicBezTo>
                  <a:pt x="4339" y="7696"/>
                  <a:pt x="4782" y="7601"/>
                  <a:pt x="5226" y="7443"/>
                </a:cubicBezTo>
                <a:cubicBezTo>
                  <a:pt x="5352" y="7380"/>
                  <a:pt x="5416" y="7253"/>
                  <a:pt x="5352" y="7126"/>
                </a:cubicBezTo>
                <a:lnTo>
                  <a:pt x="4117" y="3801"/>
                </a:lnTo>
                <a:lnTo>
                  <a:pt x="4117" y="254"/>
                </a:lnTo>
                <a:cubicBezTo>
                  <a:pt x="4117" y="127"/>
                  <a:pt x="4022" y="1"/>
                  <a:pt x="3864"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2" name="Google Shape;232;p17"/>
          <p:cNvSpPr/>
          <p:nvPr/>
        </p:nvSpPr>
        <p:spPr>
          <a:xfrm>
            <a:off x="11279538" y="4871414"/>
            <a:ext cx="158823" cy="151127"/>
          </a:xfrm>
          <a:custGeom>
            <a:avLst/>
            <a:gdLst/>
            <a:ahLst/>
            <a:cxnLst/>
            <a:rect l="l" t="t" r="r" b="b"/>
            <a:pathLst>
              <a:path w="4086" h="3888" extrusionOk="0">
                <a:moveTo>
                  <a:pt x="254" y="0"/>
                </a:moveTo>
                <a:cubicBezTo>
                  <a:pt x="159" y="0"/>
                  <a:pt x="96" y="32"/>
                  <a:pt x="32" y="95"/>
                </a:cubicBezTo>
                <a:cubicBezTo>
                  <a:pt x="1" y="190"/>
                  <a:pt x="1" y="254"/>
                  <a:pt x="32" y="349"/>
                </a:cubicBezTo>
                <a:lnTo>
                  <a:pt x="1267" y="3706"/>
                </a:lnTo>
                <a:cubicBezTo>
                  <a:pt x="1299" y="3769"/>
                  <a:pt x="1362" y="3832"/>
                  <a:pt x="1426" y="3864"/>
                </a:cubicBezTo>
                <a:cubicBezTo>
                  <a:pt x="1457" y="3880"/>
                  <a:pt x="1489" y="3888"/>
                  <a:pt x="1521" y="3888"/>
                </a:cubicBezTo>
                <a:cubicBezTo>
                  <a:pt x="1552" y="3888"/>
                  <a:pt x="1584" y="3880"/>
                  <a:pt x="1616" y="3864"/>
                </a:cubicBezTo>
                <a:cubicBezTo>
                  <a:pt x="3104" y="3294"/>
                  <a:pt x="4086" y="1837"/>
                  <a:pt x="4086" y="254"/>
                </a:cubicBezTo>
                <a:cubicBezTo>
                  <a:pt x="4086" y="127"/>
                  <a:pt x="3991" y="0"/>
                  <a:pt x="3833"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4" name="Google Shape;234;p17"/>
          <p:cNvSpPr txBox="1"/>
          <p:nvPr/>
        </p:nvSpPr>
        <p:spPr>
          <a:xfrm>
            <a:off x="658001" y="4566333"/>
            <a:ext cx="551600" cy="5428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2800" kern="0">
                <a:solidFill>
                  <a:srgbClr val="FFFFFF"/>
                </a:solidFill>
                <a:cs typeface="+mn-ea"/>
                <a:sym typeface="+mn-lt"/>
              </a:rPr>
              <a:t>4</a:t>
            </a:r>
            <a:endParaRPr sz="2800" kern="0">
              <a:solidFill>
                <a:srgbClr val="FFFFFF"/>
              </a:solidFill>
              <a:cs typeface="+mn-ea"/>
              <a:sym typeface="+mn-lt"/>
            </a:endParaRPr>
          </a:p>
        </p:txBody>
      </p:sp>
      <p:sp>
        <p:nvSpPr>
          <p:cNvPr id="235" name="Google Shape;235;p17"/>
          <p:cNvSpPr/>
          <p:nvPr/>
        </p:nvSpPr>
        <p:spPr>
          <a:xfrm>
            <a:off x="632993" y="4556294"/>
            <a:ext cx="610609" cy="610569"/>
          </a:xfrm>
          <a:custGeom>
            <a:avLst/>
            <a:gdLst/>
            <a:ahLst/>
            <a:cxnLst/>
            <a:rect l="l" t="t" r="r" b="b"/>
            <a:pathLst>
              <a:path w="15709" h="15708" extrusionOk="0">
                <a:moveTo>
                  <a:pt x="7854" y="0"/>
                </a:moveTo>
                <a:cubicBezTo>
                  <a:pt x="3516" y="0"/>
                  <a:pt x="0" y="3515"/>
                  <a:pt x="0" y="7854"/>
                </a:cubicBezTo>
                <a:cubicBezTo>
                  <a:pt x="0" y="12193"/>
                  <a:pt x="3516" y="15708"/>
                  <a:pt x="7854" y="15708"/>
                </a:cubicBezTo>
                <a:cubicBezTo>
                  <a:pt x="12193" y="15708"/>
                  <a:pt x="15708" y="12193"/>
                  <a:pt x="15708" y="7854"/>
                </a:cubicBezTo>
                <a:cubicBezTo>
                  <a:pt x="15708" y="3515"/>
                  <a:pt x="12193" y="0"/>
                  <a:pt x="7854" y="0"/>
                </a:cubicBezTo>
                <a:close/>
              </a:path>
            </a:pathLst>
          </a:custGeom>
          <a:gradFill>
            <a:gsLst>
              <a:gs pos="0">
                <a:srgbClr val="5B1A5B"/>
              </a:gs>
              <a:gs pos="100000">
                <a:srgbClr val="3C0A3C"/>
              </a:gs>
            </a:gsLst>
            <a:lin ang="5400700" scaled="0"/>
          </a:gra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6" name="Google Shape;236;p17"/>
          <p:cNvSpPr/>
          <p:nvPr/>
        </p:nvSpPr>
        <p:spPr>
          <a:xfrm>
            <a:off x="609593" y="4532894"/>
            <a:ext cx="657369" cy="657369"/>
          </a:xfrm>
          <a:custGeom>
            <a:avLst/>
            <a:gdLst/>
            <a:ahLst/>
            <a:cxnLst/>
            <a:rect l="l" t="t" r="r" b="b"/>
            <a:pathLst>
              <a:path w="16912" h="16912" extrusionOk="0">
                <a:moveTo>
                  <a:pt x="8456" y="1204"/>
                </a:moveTo>
                <a:cubicBezTo>
                  <a:pt x="12447" y="1204"/>
                  <a:pt x="15709" y="4434"/>
                  <a:pt x="15709" y="8456"/>
                </a:cubicBezTo>
                <a:cubicBezTo>
                  <a:pt x="15709" y="12478"/>
                  <a:pt x="12447" y="15708"/>
                  <a:pt x="8456" y="15708"/>
                </a:cubicBezTo>
                <a:cubicBezTo>
                  <a:pt x="4434" y="15708"/>
                  <a:pt x="1172" y="12478"/>
                  <a:pt x="1172" y="8456"/>
                </a:cubicBezTo>
                <a:cubicBezTo>
                  <a:pt x="1172" y="4434"/>
                  <a:pt x="4434" y="1204"/>
                  <a:pt x="8456" y="1204"/>
                </a:cubicBezTo>
                <a:close/>
                <a:moveTo>
                  <a:pt x="8456" y="0"/>
                </a:moveTo>
                <a:cubicBezTo>
                  <a:pt x="3801" y="0"/>
                  <a:pt x="1" y="3801"/>
                  <a:pt x="1" y="8456"/>
                </a:cubicBezTo>
                <a:cubicBezTo>
                  <a:pt x="1" y="13111"/>
                  <a:pt x="3801" y="16912"/>
                  <a:pt x="8456" y="16912"/>
                </a:cubicBezTo>
                <a:cubicBezTo>
                  <a:pt x="13112" y="16912"/>
                  <a:pt x="16912" y="13111"/>
                  <a:pt x="16912" y="8456"/>
                </a:cubicBezTo>
                <a:cubicBezTo>
                  <a:pt x="16912" y="3801"/>
                  <a:pt x="13112" y="0"/>
                  <a:pt x="8456"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7" name="Google Shape;237;p17"/>
          <p:cNvSpPr/>
          <p:nvPr/>
        </p:nvSpPr>
        <p:spPr>
          <a:xfrm>
            <a:off x="895170" y="4691678"/>
            <a:ext cx="85009" cy="84969"/>
          </a:xfrm>
          <a:custGeom>
            <a:avLst/>
            <a:gdLst/>
            <a:ahLst/>
            <a:cxnLst/>
            <a:rect l="l" t="t" r="r" b="b"/>
            <a:pathLst>
              <a:path w="2187" h="2186" extrusionOk="0">
                <a:moveTo>
                  <a:pt x="1109" y="1"/>
                </a:moveTo>
                <a:cubicBezTo>
                  <a:pt x="508" y="1"/>
                  <a:pt x="1" y="507"/>
                  <a:pt x="1" y="1109"/>
                </a:cubicBezTo>
                <a:cubicBezTo>
                  <a:pt x="1" y="1711"/>
                  <a:pt x="508" y="2186"/>
                  <a:pt x="1109" y="2186"/>
                </a:cubicBezTo>
                <a:cubicBezTo>
                  <a:pt x="1711" y="2186"/>
                  <a:pt x="2186" y="1711"/>
                  <a:pt x="2186" y="1109"/>
                </a:cubicBezTo>
                <a:cubicBezTo>
                  <a:pt x="2186" y="507"/>
                  <a:pt x="1711" y="1"/>
                  <a:pt x="110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8" name="Google Shape;238;p17"/>
          <p:cNvSpPr/>
          <p:nvPr/>
        </p:nvSpPr>
        <p:spPr>
          <a:xfrm>
            <a:off x="874258" y="4797559"/>
            <a:ext cx="128076" cy="233920"/>
          </a:xfrm>
          <a:custGeom>
            <a:avLst/>
            <a:gdLst/>
            <a:ahLst/>
            <a:cxnLst/>
            <a:rect l="l" t="t" r="r" b="b"/>
            <a:pathLst>
              <a:path w="3295" h="6018" extrusionOk="0">
                <a:moveTo>
                  <a:pt x="792" y="0"/>
                </a:moveTo>
                <a:cubicBezTo>
                  <a:pt x="507" y="0"/>
                  <a:pt x="286" y="222"/>
                  <a:pt x="254" y="507"/>
                </a:cubicBezTo>
                <a:lnTo>
                  <a:pt x="0" y="2439"/>
                </a:lnTo>
                <a:cubicBezTo>
                  <a:pt x="0" y="2502"/>
                  <a:pt x="32" y="2597"/>
                  <a:pt x="64" y="2629"/>
                </a:cubicBezTo>
                <a:cubicBezTo>
                  <a:pt x="127" y="2692"/>
                  <a:pt x="191" y="2724"/>
                  <a:pt x="286" y="2724"/>
                </a:cubicBezTo>
                <a:lnTo>
                  <a:pt x="571" y="2724"/>
                </a:lnTo>
                <a:lnTo>
                  <a:pt x="792" y="5511"/>
                </a:lnTo>
                <a:cubicBezTo>
                  <a:pt x="824" y="5796"/>
                  <a:pt x="1077" y="6017"/>
                  <a:pt x="1331" y="6017"/>
                </a:cubicBezTo>
                <a:lnTo>
                  <a:pt x="1932" y="6017"/>
                </a:lnTo>
                <a:cubicBezTo>
                  <a:pt x="2217" y="6017"/>
                  <a:pt x="2471" y="5796"/>
                  <a:pt x="2471" y="5511"/>
                </a:cubicBezTo>
                <a:lnTo>
                  <a:pt x="2724" y="2724"/>
                </a:lnTo>
                <a:lnTo>
                  <a:pt x="3009" y="2724"/>
                </a:lnTo>
                <a:cubicBezTo>
                  <a:pt x="3072" y="2724"/>
                  <a:pt x="3167" y="2692"/>
                  <a:pt x="3199" y="2629"/>
                </a:cubicBezTo>
                <a:cubicBezTo>
                  <a:pt x="3262" y="2597"/>
                  <a:pt x="3294" y="2502"/>
                  <a:pt x="3262" y="2439"/>
                </a:cubicBezTo>
                <a:lnTo>
                  <a:pt x="3041" y="507"/>
                </a:lnTo>
                <a:cubicBezTo>
                  <a:pt x="3009" y="222"/>
                  <a:pt x="2756" y="0"/>
                  <a:pt x="2502" y="0"/>
                </a:cubicBezTo>
                <a:lnTo>
                  <a:pt x="2186" y="0"/>
                </a:lnTo>
                <a:cubicBezTo>
                  <a:pt x="2122" y="0"/>
                  <a:pt x="2059" y="32"/>
                  <a:pt x="1996" y="95"/>
                </a:cubicBezTo>
                <a:lnTo>
                  <a:pt x="1647" y="444"/>
                </a:lnTo>
                <a:lnTo>
                  <a:pt x="1299" y="95"/>
                </a:lnTo>
                <a:cubicBezTo>
                  <a:pt x="1236" y="32"/>
                  <a:pt x="1172" y="0"/>
                  <a:pt x="1109"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39" name="Google Shape;239;p17"/>
          <p:cNvSpPr/>
          <p:nvPr/>
        </p:nvSpPr>
        <p:spPr>
          <a:xfrm>
            <a:off x="1001052" y="4691678"/>
            <a:ext cx="84969" cy="84969"/>
          </a:xfrm>
          <a:custGeom>
            <a:avLst/>
            <a:gdLst/>
            <a:ahLst/>
            <a:cxnLst/>
            <a:rect l="l" t="t" r="r" b="b"/>
            <a:pathLst>
              <a:path w="2186" h="2186" extrusionOk="0">
                <a:moveTo>
                  <a:pt x="1109" y="1"/>
                </a:moveTo>
                <a:cubicBezTo>
                  <a:pt x="507" y="1"/>
                  <a:pt x="0" y="507"/>
                  <a:pt x="0" y="1109"/>
                </a:cubicBezTo>
                <a:cubicBezTo>
                  <a:pt x="0" y="1711"/>
                  <a:pt x="507" y="2186"/>
                  <a:pt x="1109" y="2186"/>
                </a:cubicBezTo>
                <a:cubicBezTo>
                  <a:pt x="1711" y="2186"/>
                  <a:pt x="2186" y="1711"/>
                  <a:pt x="2186" y="1109"/>
                </a:cubicBezTo>
                <a:cubicBezTo>
                  <a:pt x="2186" y="507"/>
                  <a:pt x="1711" y="1"/>
                  <a:pt x="110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0" name="Google Shape;240;p17"/>
          <p:cNvSpPr/>
          <p:nvPr/>
        </p:nvSpPr>
        <p:spPr>
          <a:xfrm>
            <a:off x="789329" y="4691678"/>
            <a:ext cx="84969" cy="84969"/>
          </a:xfrm>
          <a:custGeom>
            <a:avLst/>
            <a:gdLst/>
            <a:ahLst/>
            <a:cxnLst/>
            <a:rect l="l" t="t" r="r" b="b"/>
            <a:pathLst>
              <a:path w="2186" h="2186" extrusionOk="0">
                <a:moveTo>
                  <a:pt x="1109" y="1"/>
                </a:moveTo>
                <a:cubicBezTo>
                  <a:pt x="507" y="1"/>
                  <a:pt x="0" y="507"/>
                  <a:pt x="0" y="1109"/>
                </a:cubicBezTo>
                <a:cubicBezTo>
                  <a:pt x="0" y="1711"/>
                  <a:pt x="507" y="2186"/>
                  <a:pt x="1109" y="2186"/>
                </a:cubicBezTo>
                <a:cubicBezTo>
                  <a:pt x="1710" y="2186"/>
                  <a:pt x="2185" y="1711"/>
                  <a:pt x="2185" y="1109"/>
                </a:cubicBezTo>
                <a:cubicBezTo>
                  <a:pt x="2185" y="507"/>
                  <a:pt x="1710" y="1"/>
                  <a:pt x="1109"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1" name="Google Shape;241;p17"/>
          <p:cNvSpPr/>
          <p:nvPr/>
        </p:nvSpPr>
        <p:spPr>
          <a:xfrm>
            <a:off x="1004745" y="4797561"/>
            <a:ext cx="103433" cy="212969"/>
          </a:xfrm>
          <a:custGeom>
            <a:avLst/>
            <a:gdLst/>
            <a:ahLst/>
            <a:cxnLst/>
            <a:rect l="l" t="t" r="r" b="b"/>
            <a:pathLst>
              <a:path w="2661" h="5479" extrusionOk="0">
                <a:moveTo>
                  <a:pt x="159" y="0"/>
                </a:moveTo>
                <a:cubicBezTo>
                  <a:pt x="127" y="0"/>
                  <a:pt x="95" y="32"/>
                  <a:pt x="64" y="32"/>
                </a:cubicBezTo>
                <a:cubicBezTo>
                  <a:pt x="127" y="159"/>
                  <a:pt x="190" y="285"/>
                  <a:pt x="222" y="444"/>
                </a:cubicBezTo>
                <a:lnTo>
                  <a:pt x="444" y="2375"/>
                </a:lnTo>
                <a:cubicBezTo>
                  <a:pt x="475" y="2597"/>
                  <a:pt x="412" y="2850"/>
                  <a:pt x="254" y="3009"/>
                </a:cubicBezTo>
                <a:cubicBezTo>
                  <a:pt x="190" y="3104"/>
                  <a:pt x="95" y="3167"/>
                  <a:pt x="0" y="3199"/>
                </a:cubicBezTo>
                <a:lnTo>
                  <a:pt x="159" y="4972"/>
                </a:lnTo>
                <a:cubicBezTo>
                  <a:pt x="190" y="5257"/>
                  <a:pt x="444" y="5479"/>
                  <a:pt x="697" y="5479"/>
                </a:cubicBezTo>
                <a:lnTo>
                  <a:pt x="1299" y="5479"/>
                </a:lnTo>
                <a:cubicBezTo>
                  <a:pt x="1584" y="5479"/>
                  <a:pt x="1837" y="5257"/>
                  <a:pt x="1837" y="4972"/>
                </a:cubicBezTo>
                <a:lnTo>
                  <a:pt x="2091" y="2755"/>
                </a:lnTo>
                <a:lnTo>
                  <a:pt x="2376" y="2755"/>
                </a:lnTo>
                <a:cubicBezTo>
                  <a:pt x="2439" y="2755"/>
                  <a:pt x="2534" y="2692"/>
                  <a:pt x="2566" y="2660"/>
                </a:cubicBezTo>
                <a:cubicBezTo>
                  <a:pt x="2629" y="2597"/>
                  <a:pt x="2661" y="2502"/>
                  <a:pt x="2629" y="2439"/>
                </a:cubicBezTo>
                <a:lnTo>
                  <a:pt x="2407" y="507"/>
                </a:lnTo>
                <a:cubicBezTo>
                  <a:pt x="2376" y="222"/>
                  <a:pt x="2154" y="0"/>
                  <a:pt x="1869" y="0"/>
                </a:cubicBezTo>
                <a:lnTo>
                  <a:pt x="1552" y="0"/>
                </a:lnTo>
                <a:cubicBezTo>
                  <a:pt x="1489" y="0"/>
                  <a:pt x="1426" y="32"/>
                  <a:pt x="1362" y="95"/>
                </a:cubicBezTo>
                <a:lnTo>
                  <a:pt x="1014" y="444"/>
                </a:lnTo>
                <a:lnTo>
                  <a:pt x="665" y="95"/>
                </a:lnTo>
                <a:cubicBezTo>
                  <a:pt x="602" y="32"/>
                  <a:pt x="539" y="0"/>
                  <a:pt x="475"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2" name="Google Shape;242;p17"/>
          <p:cNvSpPr/>
          <p:nvPr/>
        </p:nvSpPr>
        <p:spPr>
          <a:xfrm>
            <a:off x="768376" y="4797561"/>
            <a:ext cx="103472" cy="212969"/>
          </a:xfrm>
          <a:custGeom>
            <a:avLst/>
            <a:gdLst/>
            <a:ahLst/>
            <a:cxnLst/>
            <a:rect l="l" t="t" r="r" b="b"/>
            <a:pathLst>
              <a:path w="2662" h="5479" extrusionOk="0">
                <a:moveTo>
                  <a:pt x="793" y="0"/>
                </a:moveTo>
                <a:cubicBezTo>
                  <a:pt x="508" y="0"/>
                  <a:pt x="286" y="222"/>
                  <a:pt x="254" y="507"/>
                </a:cubicBezTo>
                <a:lnTo>
                  <a:pt x="1" y="2439"/>
                </a:lnTo>
                <a:cubicBezTo>
                  <a:pt x="1" y="2502"/>
                  <a:pt x="1" y="2597"/>
                  <a:pt x="64" y="2660"/>
                </a:cubicBezTo>
                <a:cubicBezTo>
                  <a:pt x="128" y="2692"/>
                  <a:pt x="191" y="2724"/>
                  <a:pt x="286" y="2724"/>
                </a:cubicBezTo>
                <a:lnTo>
                  <a:pt x="571" y="2724"/>
                </a:lnTo>
                <a:lnTo>
                  <a:pt x="793" y="4972"/>
                </a:lnTo>
                <a:cubicBezTo>
                  <a:pt x="824" y="5257"/>
                  <a:pt x="1046" y="5479"/>
                  <a:pt x="1331" y="5479"/>
                </a:cubicBezTo>
                <a:lnTo>
                  <a:pt x="1933" y="5479"/>
                </a:lnTo>
                <a:cubicBezTo>
                  <a:pt x="2218" y="5479"/>
                  <a:pt x="2439" y="5257"/>
                  <a:pt x="2471" y="4972"/>
                </a:cubicBezTo>
                <a:lnTo>
                  <a:pt x="2661" y="3199"/>
                </a:lnTo>
                <a:cubicBezTo>
                  <a:pt x="2566" y="3167"/>
                  <a:pt x="2471" y="3104"/>
                  <a:pt x="2376" y="3009"/>
                </a:cubicBezTo>
                <a:cubicBezTo>
                  <a:pt x="2218" y="2819"/>
                  <a:pt x="2154" y="2597"/>
                  <a:pt x="2186" y="2375"/>
                </a:cubicBezTo>
                <a:lnTo>
                  <a:pt x="2439" y="412"/>
                </a:lnTo>
                <a:cubicBezTo>
                  <a:pt x="2471" y="285"/>
                  <a:pt x="2503" y="159"/>
                  <a:pt x="2566" y="32"/>
                </a:cubicBezTo>
                <a:cubicBezTo>
                  <a:pt x="2534" y="32"/>
                  <a:pt x="2503" y="0"/>
                  <a:pt x="2471" y="0"/>
                </a:cubicBezTo>
                <a:lnTo>
                  <a:pt x="2186" y="0"/>
                </a:lnTo>
                <a:cubicBezTo>
                  <a:pt x="2123" y="0"/>
                  <a:pt x="2028" y="32"/>
                  <a:pt x="1996" y="95"/>
                </a:cubicBezTo>
                <a:lnTo>
                  <a:pt x="1648" y="444"/>
                </a:lnTo>
                <a:lnTo>
                  <a:pt x="1299" y="95"/>
                </a:lnTo>
                <a:cubicBezTo>
                  <a:pt x="1236" y="32"/>
                  <a:pt x="1173" y="0"/>
                  <a:pt x="1078"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4" name="Google Shape;244;p17"/>
          <p:cNvSpPr txBox="1"/>
          <p:nvPr/>
        </p:nvSpPr>
        <p:spPr>
          <a:xfrm>
            <a:off x="658001" y="1107001"/>
            <a:ext cx="551600" cy="5428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2800" kern="0">
                <a:solidFill>
                  <a:srgbClr val="FFFFFF"/>
                </a:solidFill>
                <a:cs typeface="+mn-ea"/>
                <a:sym typeface="+mn-lt"/>
              </a:rPr>
              <a:t>5</a:t>
            </a:r>
            <a:endParaRPr sz="2800" kern="0">
              <a:solidFill>
                <a:srgbClr val="FFFFFF"/>
              </a:solidFill>
              <a:cs typeface="+mn-ea"/>
              <a:sym typeface="+mn-lt"/>
            </a:endParaRPr>
          </a:p>
        </p:txBody>
      </p:sp>
      <p:sp>
        <p:nvSpPr>
          <p:cNvPr id="245" name="Google Shape;245;p17"/>
          <p:cNvSpPr/>
          <p:nvPr/>
        </p:nvSpPr>
        <p:spPr>
          <a:xfrm>
            <a:off x="641621" y="1130487"/>
            <a:ext cx="610569" cy="610609"/>
          </a:xfrm>
          <a:custGeom>
            <a:avLst/>
            <a:gdLst/>
            <a:ahLst/>
            <a:cxnLst/>
            <a:rect l="l" t="t" r="r" b="b"/>
            <a:pathLst>
              <a:path w="15708" h="15709" extrusionOk="0">
                <a:moveTo>
                  <a:pt x="7854" y="1"/>
                </a:moveTo>
                <a:cubicBezTo>
                  <a:pt x="3515" y="1"/>
                  <a:pt x="0" y="3516"/>
                  <a:pt x="0" y="7855"/>
                </a:cubicBezTo>
                <a:cubicBezTo>
                  <a:pt x="0" y="12193"/>
                  <a:pt x="3515" y="15708"/>
                  <a:pt x="7854" y="15708"/>
                </a:cubicBezTo>
                <a:cubicBezTo>
                  <a:pt x="12193" y="15708"/>
                  <a:pt x="15708" y="12193"/>
                  <a:pt x="15708" y="7855"/>
                </a:cubicBezTo>
                <a:cubicBezTo>
                  <a:pt x="15708" y="3516"/>
                  <a:pt x="12193" y="1"/>
                  <a:pt x="7854"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
        <p:nvSpPr>
          <p:cNvPr id="246" name="Google Shape;246;p17"/>
          <p:cNvSpPr/>
          <p:nvPr/>
        </p:nvSpPr>
        <p:spPr>
          <a:xfrm>
            <a:off x="618221" y="1107085"/>
            <a:ext cx="657369" cy="657408"/>
          </a:xfrm>
          <a:custGeom>
            <a:avLst/>
            <a:gdLst/>
            <a:ahLst/>
            <a:cxnLst/>
            <a:rect l="l" t="t" r="r" b="b"/>
            <a:pathLst>
              <a:path w="16912" h="16913" extrusionOk="0">
                <a:moveTo>
                  <a:pt x="8456" y="1173"/>
                </a:moveTo>
                <a:cubicBezTo>
                  <a:pt x="12478" y="1173"/>
                  <a:pt x="15740" y="4435"/>
                  <a:pt x="15740" y="8457"/>
                </a:cubicBezTo>
                <a:cubicBezTo>
                  <a:pt x="15740" y="12447"/>
                  <a:pt x="12478" y="15709"/>
                  <a:pt x="8456" y="15709"/>
                </a:cubicBezTo>
                <a:cubicBezTo>
                  <a:pt x="4466" y="15709"/>
                  <a:pt x="1204" y="12447"/>
                  <a:pt x="1204" y="8457"/>
                </a:cubicBezTo>
                <a:cubicBezTo>
                  <a:pt x="1204" y="4435"/>
                  <a:pt x="4466" y="1173"/>
                  <a:pt x="8456" y="1173"/>
                </a:cubicBezTo>
                <a:close/>
                <a:moveTo>
                  <a:pt x="8456" y="1"/>
                </a:moveTo>
                <a:cubicBezTo>
                  <a:pt x="3801" y="1"/>
                  <a:pt x="0" y="3801"/>
                  <a:pt x="0" y="8457"/>
                </a:cubicBezTo>
                <a:cubicBezTo>
                  <a:pt x="0" y="13112"/>
                  <a:pt x="3801" y="16912"/>
                  <a:pt x="8456" y="16912"/>
                </a:cubicBezTo>
                <a:cubicBezTo>
                  <a:pt x="13111" y="16912"/>
                  <a:pt x="16912" y="13112"/>
                  <a:pt x="16912" y="8457"/>
                </a:cubicBezTo>
                <a:cubicBezTo>
                  <a:pt x="16912" y="3801"/>
                  <a:pt x="13111" y="1"/>
                  <a:pt x="8456" y="1"/>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7" name="Google Shape;247;p17"/>
          <p:cNvSpPr/>
          <p:nvPr/>
        </p:nvSpPr>
        <p:spPr>
          <a:xfrm>
            <a:off x="753606" y="1531778"/>
            <a:ext cx="52980" cy="73892"/>
          </a:xfrm>
          <a:custGeom>
            <a:avLst/>
            <a:gdLst/>
            <a:ahLst/>
            <a:cxnLst/>
            <a:rect l="l" t="t" r="r" b="b"/>
            <a:pathLst>
              <a:path w="1363" h="1901" extrusionOk="0">
                <a:moveTo>
                  <a:pt x="951" y="1"/>
                </a:moveTo>
                <a:cubicBezTo>
                  <a:pt x="413" y="1"/>
                  <a:pt x="1" y="444"/>
                  <a:pt x="1" y="951"/>
                </a:cubicBezTo>
                <a:lnTo>
                  <a:pt x="1" y="1647"/>
                </a:lnTo>
                <a:cubicBezTo>
                  <a:pt x="1" y="1774"/>
                  <a:pt x="96" y="1901"/>
                  <a:pt x="254" y="1901"/>
                </a:cubicBezTo>
                <a:lnTo>
                  <a:pt x="1363" y="1901"/>
                </a:lnTo>
                <a:cubicBezTo>
                  <a:pt x="1331" y="1806"/>
                  <a:pt x="1299" y="1742"/>
                  <a:pt x="1299" y="1647"/>
                </a:cubicBezTo>
                <a:lnTo>
                  <a:pt x="1299" y="1"/>
                </a:ln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8" name="Google Shape;248;p17"/>
          <p:cNvSpPr/>
          <p:nvPr/>
        </p:nvSpPr>
        <p:spPr>
          <a:xfrm>
            <a:off x="825010" y="1478839"/>
            <a:ext cx="52980" cy="126833"/>
          </a:xfrm>
          <a:custGeom>
            <a:avLst/>
            <a:gdLst/>
            <a:ahLst/>
            <a:cxnLst/>
            <a:rect l="l" t="t" r="r" b="b"/>
            <a:pathLst>
              <a:path w="1363" h="3263" extrusionOk="0">
                <a:moveTo>
                  <a:pt x="919" y="1"/>
                </a:moveTo>
                <a:cubicBezTo>
                  <a:pt x="412" y="1"/>
                  <a:pt x="1" y="413"/>
                  <a:pt x="1" y="951"/>
                </a:cubicBezTo>
                <a:lnTo>
                  <a:pt x="1" y="3009"/>
                </a:lnTo>
                <a:cubicBezTo>
                  <a:pt x="1" y="3136"/>
                  <a:pt x="96" y="3263"/>
                  <a:pt x="254" y="3263"/>
                </a:cubicBezTo>
                <a:lnTo>
                  <a:pt x="1363" y="3263"/>
                </a:lnTo>
                <a:cubicBezTo>
                  <a:pt x="1331" y="3168"/>
                  <a:pt x="1299" y="3104"/>
                  <a:pt x="1299" y="3009"/>
                </a:cubicBezTo>
                <a:lnTo>
                  <a:pt x="1299" y="1"/>
                </a:ln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49" name="Google Shape;249;p17"/>
          <p:cNvSpPr/>
          <p:nvPr/>
        </p:nvSpPr>
        <p:spPr>
          <a:xfrm>
            <a:off x="930891" y="1265910"/>
            <a:ext cx="162516" cy="339763"/>
          </a:xfrm>
          <a:custGeom>
            <a:avLst/>
            <a:gdLst/>
            <a:ahLst/>
            <a:cxnLst/>
            <a:rect l="l" t="t" r="r" b="b"/>
            <a:pathLst>
              <a:path w="4181" h="8741" extrusionOk="0">
                <a:moveTo>
                  <a:pt x="2090" y="0"/>
                </a:moveTo>
                <a:cubicBezTo>
                  <a:pt x="1995" y="0"/>
                  <a:pt x="1932" y="32"/>
                  <a:pt x="1869" y="95"/>
                </a:cubicBezTo>
                <a:lnTo>
                  <a:pt x="64" y="2565"/>
                </a:lnTo>
                <a:cubicBezTo>
                  <a:pt x="0" y="2660"/>
                  <a:pt x="0" y="2755"/>
                  <a:pt x="32" y="2850"/>
                </a:cubicBezTo>
                <a:cubicBezTo>
                  <a:pt x="64" y="2914"/>
                  <a:pt x="159" y="2977"/>
                  <a:pt x="254" y="2977"/>
                </a:cubicBezTo>
                <a:lnTo>
                  <a:pt x="919" y="2977"/>
                </a:lnTo>
                <a:lnTo>
                  <a:pt x="919" y="8487"/>
                </a:lnTo>
                <a:cubicBezTo>
                  <a:pt x="919" y="8614"/>
                  <a:pt x="1045" y="8741"/>
                  <a:pt x="1172" y="8741"/>
                </a:cubicBezTo>
                <a:lnTo>
                  <a:pt x="3009" y="8741"/>
                </a:lnTo>
                <a:cubicBezTo>
                  <a:pt x="3136" y="8741"/>
                  <a:pt x="3262" y="8614"/>
                  <a:pt x="3262" y="8487"/>
                </a:cubicBezTo>
                <a:lnTo>
                  <a:pt x="3262" y="2977"/>
                </a:lnTo>
                <a:lnTo>
                  <a:pt x="3927" y="2977"/>
                </a:lnTo>
                <a:cubicBezTo>
                  <a:pt x="4022" y="2977"/>
                  <a:pt x="4086" y="2914"/>
                  <a:pt x="4149" y="2850"/>
                </a:cubicBezTo>
                <a:cubicBezTo>
                  <a:pt x="4181" y="2755"/>
                  <a:pt x="4181" y="2660"/>
                  <a:pt x="4117" y="2565"/>
                </a:cubicBezTo>
                <a:lnTo>
                  <a:pt x="2280" y="95"/>
                </a:lnTo>
                <a:cubicBezTo>
                  <a:pt x="2249" y="32"/>
                  <a:pt x="2185" y="0"/>
                  <a:pt x="2090" y="0"/>
                </a:cubicBez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250" name="Google Shape;250;p17"/>
          <p:cNvSpPr/>
          <p:nvPr/>
        </p:nvSpPr>
        <p:spPr>
          <a:xfrm>
            <a:off x="895170" y="1425938"/>
            <a:ext cx="52980" cy="179735"/>
          </a:xfrm>
          <a:custGeom>
            <a:avLst/>
            <a:gdLst/>
            <a:ahLst/>
            <a:cxnLst/>
            <a:rect l="l" t="t" r="r" b="b"/>
            <a:pathLst>
              <a:path w="1363" h="4624" extrusionOk="0">
                <a:moveTo>
                  <a:pt x="951" y="0"/>
                </a:moveTo>
                <a:cubicBezTo>
                  <a:pt x="444" y="0"/>
                  <a:pt x="1" y="412"/>
                  <a:pt x="1" y="950"/>
                </a:cubicBezTo>
                <a:lnTo>
                  <a:pt x="1" y="4370"/>
                </a:lnTo>
                <a:cubicBezTo>
                  <a:pt x="1" y="4497"/>
                  <a:pt x="128" y="4624"/>
                  <a:pt x="254" y="4624"/>
                </a:cubicBezTo>
                <a:lnTo>
                  <a:pt x="1363" y="4624"/>
                </a:lnTo>
                <a:cubicBezTo>
                  <a:pt x="1331" y="4529"/>
                  <a:pt x="1331" y="4465"/>
                  <a:pt x="1331" y="4370"/>
                </a:cubicBezTo>
                <a:lnTo>
                  <a:pt x="1331" y="0"/>
                </a:lnTo>
                <a:close/>
              </a:path>
            </a:pathLst>
          </a:custGeom>
          <a:solidFill>
            <a:srgbClr val="FFFFFF"/>
          </a:solidFill>
          <a:ln>
            <a:noFill/>
          </a:ln>
        </p:spPr>
        <p:txBody>
          <a:bodyPr spcFirstLastPara="1" wrap="square" lIns="121900" tIns="121900" rIns="121900" bIns="121900" anchor="ctr" anchorCtr="0">
            <a:noAutofit/>
          </a:bodyPr>
          <a:lstStyle/>
          <a:p>
            <a:pPr defTabSz="1219170">
              <a:buClr>
                <a:srgbClr val="000000"/>
              </a:buClr>
            </a:pPr>
            <a:endParaRPr sz="1867" kern="0">
              <a:solidFill>
                <a:srgbClr val="000000"/>
              </a:solidFill>
              <a:cs typeface="+mn-ea"/>
              <a:sym typeface="+mn-lt"/>
            </a:endParaRPr>
          </a:p>
        </p:txBody>
      </p:sp>
      <p:sp>
        <p:nvSpPr>
          <p:cNvPr id="65" name="Synergistically utilize technically sound portals with frictionless chains. Dramatically customize…">
            <a:extLst>
              <a:ext uri="{FF2B5EF4-FFF2-40B4-BE49-F238E27FC236}">
                <a16:creationId xmlns:a16="http://schemas.microsoft.com/office/drawing/2014/main" id="{F1A150F9-ECBD-49F1-BC71-2BDFE0CFF4DD}"/>
              </a:ext>
            </a:extLst>
          </p:cNvPr>
          <p:cNvSpPr txBox="1"/>
          <p:nvPr/>
        </p:nvSpPr>
        <p:spPr>
          <a:xfrm>
            <a:off x="1373171" y="1605672"/>
            <a:ext cx="2625831" cy="798360"/>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17</a:t>
            </a:r>
            <a:r>
              <a:rPr lang="zh-CN" altLang="en-US" sz="1200" dirty="0">
                <a:sym typeface="+mn-lt"/>
              </a:rPr>
              <a:t>年</a:t>
            </a:r>
            <a:r>
              <a:rPr lang="en-US" altLang="zh-CN" sz="1200" dirty="0">
                <a:sym typeface="+mn-lt"/>
              </a:rPr>
              <a:t>4</a:t>
            </a:r>
            <a:r>
              <a:rPr lang="zh-CN" altLang="en-US" sz="1200" dirty="0">
                <a:sym typeface="+mn-lt"/>
              </a:rPr>
              <a:t>月，教育部印发</a:t>
            </a:r>
            <a:r>
              <a:rPr lang="en-US" altLang="zh-CN" sz="1200" dirty="0">
                <a:sym typeface="+mn-lt"/>
              </a:rPr>
              <a:t>《</a:t>
            </a:r>
            <a:r>
              <a:rPr lang="zh-CN" altLang="en-US" sz="1200" dirty="0">
                <a:sym typeface="+mn-lt"/>
              </a:rPr>
              <a:t>县域义务教育优质均衡发展督导评估办法</a:t>
            </a:r>
            <a:r>
              <a:rPr lang="en-US" altLang="zh-CN" sz="1200" dirty="0">
                <a:sym typeface="+mn-lt"/>
              </a:rPr>
              <a:t>》</a:t>
            </a:r>
            <a:r>
              <a:rPr lang="zh-CN" altLang="en-US" sz="1200" dirty="0">
                <a:sym typeface="+mn-lt"/>
              </a:rPr>
              <a:t>（教督</a:t>
            </a:r>
            <a:r>
              <a:rPr lang="en-US" altLang="zh-CN" sz="1200" dirty="0">
                <a:sym typeface="+mn-lt"/>
              </a:rPr>
              <a:t>〔2017〕6</a:t>
            </a:r>
            <a:r>
              <a:rPr lang="zh-CN" altLang="en-US" sz="1200" dirty="0">
                <a:sym typeface="+mn-lt"/>
              </a:rPr>
              <a:t>号）</a:t>
            </a:r>
            <a:endParaRPr lang="en-US" altLang="zh-CN" sz="1200" dirty="0">
              <a:sym typeface="+mn-lt"/>
            </a:endParaRPr>
          </a:p>
        </p:txBody>
      </p:sp>
      <p:sp>
        <p:nvSpPr>
          <p:cNvPr id="66" name="Synergistically utilize technically sound portals with frictionless chains. Dramatically customize…">
            <a:extLst>
              <a:ext uri="{FF2B5EF4-FFF2-40B4-BE49-F238E27FC236}">
                <a16:creationId xmlns:a16="http://schemas.microsoft.com/office/drawing/2014/main" id="{16A3306A-D044-4CA5-84D6-41D376355B75}"/>
              </a:ext>
            </a:extLst>
          </p:cNvPr>
          <p:cNvSpPr txBox="1"/>
          <p:nvPr/>
        </p:nvSpPr>
        <p:spPr>
          <a:xfrm>
            <a:off x="1359106" y="3398496"/>
            <a:ext cx="2625831" cy="521361"/>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19</a:t>
            </a:r>
            <a:r>
              <a:rPr lang="zh-CN" altLang="en-US" sz="1200" dirty="0">
                <a:sym typeface="+mn-lt"/>
              </a:rPr>
              <a:t>年</a:t>
            </a:r>
            <a:r>
              <a:rPr lang="en-US" altLang="zh-CN" sz="1200" dirty="0">
                <a:sym typeface="+mn-lt"/>
              </a:rPr>
              <a:t>10</a:t>
            </a:r>
            <a:r>
              <a:rPr lang="zh-CN" altLang="en-US" sz="1200" dirty="0">
                <a:sym typeface="+mn-lt"/>
              </a:rPr>
              <a:t>月，教育部启动全国县域义务教育优质均衡发展督导评估认定工作</a:t>
            </a:r>
            <a:endParaRPr lang="en-US" altLang="zh-CN" sz="1200" dirty="0">
              <a:sym typeface="+mn-lt"/>
            </a:endParaRPr>
          </a:p>
        </p:txBody>
      </p:sp>
      <p:sp>
        <p:nvSpPr>
          <p:cNvPr id="67" name="Synergistically utilize technically sound portals with frictionless chains. Dramatically customize…">
            <a:extLst>
              <a:ext uri="{FF2B5EF4-FFF2-40B4-BE49-F238E27FC236}">
                <a16:creationId xmlns:a16="http://schemas.microsoft.com/office/drawing/2014/main" id="{04482945-9DFC-46BA-B96B-E62B48EC71A4}"/>
              </a:ext>
            </a:extLst>
          </p:cNvPr>
          <p:cNvSpPr txBox="1"/>
          <p:nvPr/>
        </p:nvSpPr>
        <p:spPr>
          <a:xfrm>
            <a:off x="1330922" y="4996959"/>
            <a:ext cx="2885364" cy="1075359"/>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20</a:t>
            </a:r>
            <a:r>
              <a:rPr lang="zh-CN" altLang="en-US" sz="1200" dirty="0">
                <a:sym typeface="+mn-lt"/>
              </a:rPr>
              <a:t>年</a:t>
            </a:r>
            <a:r>
              <a:rPr lang="en-US" altLang="zh-CN" sz="1200" dirty="0">
                <a:sym typeface="+mn-lt"/>
              </a:rPr>
              <a:t>4</a:t>
            </a:r>
            <a:r>
              <a:rPr lang="zh-CN" altLang="en-US" sz="1200" dirty="0">
                <a:sym typeface="+mn-lt"/>
              </a:rPr>
              <a:t>月，天津市人民政府办公厅印发</a:t>
            </a:r>
            <a:r>
              <a:rPr lang="en-US" altLang="zh-CN" sz="1200" dirty="0">
                <a:sym typeface="+mn-lt"/>
              </a:rPr>
              <a:t>《</a:t>
            </a:r>
            <a:r>
              <a:rPr lang="zh-CN" altLang="en-US" sz="1200" dirty="0">
                <a:sym typeface="+mn-lt"/>
              </a:rPr>
              <a:t>天津市推进义务教育优质均衡发展三年行动方案（</a:t>
            </a:r>
            <a:r>
              <a:rPr lang="en-US" altLang="zh-CN" sz="1200" dirty="0">
                <a:sym typeface="+mn-lt"/>
              </a:rPr>
              <a:t>2020—2022</a:t>
            </a:r>
            <a:r>
              <a:rPr lang="zh-CN" altLang="en-US" sz="1200" dirty="0">
                <a:sym typeface="+mn-lt"/>
              </a:rPr>
              <a:t>年）</a:t>
            </a:r>
            <a:r>
              <a:rPr lang="en-US" altLang="zh-CN" sz="1200" dirty="0">
                <a:sym typeface="+mn-lt"/>
              </a:rPr>
              <a:t>》</a:t>
            </a:r>
            <a:r>
              <a:rPr lang="zh-CN" altLang="en-US" sz="1200" dirty="0">
                <a:sym typeface="+mn-lt"/>
              </a:rPr>
              <a:t>（津政办规</a:t>
            </a:r>
            <a:r>
              <a:rPr lang="en-US" altLang="zh-CN" sz="1200" dirty="0">
                <a:sym typeface="+mn-lt"/>
              </a:rPr>
              <a:t>〔2020〕5</a:t>
            </a:r>
            <a:r>
              <a:rPr lang="zh-CN" altLang="en-US" sz="1200" dirty="0">
                <a:sym typeface="+mn-lt"/>
              </a:rPr>
              <a:t>号）</a:t>
            </a:r>
            <a:endParaRPr lang="en-US" altLang="zh-CN" sz="1200" dirty="0">
              <a:sym typeface="+mn-lt"/>
            </a:endParaRPr>
          </a:p>
        </p:txBody>
      </p:sp>
      <p:sp>
        <p:nvSpPr>
          <p:cNvPr id="68" name="Synergistically utilize technically sound portals with frictionless chains. Dramatically customize…">
            <a:extLst>
              <a:ext uri="{FF2B5EF4-FFF2-40B4-BE49-F238E27FC236}">
                <a16:creationId xmlns:a16="http://schemas.microsoft.com/office/drawing/2014/main" id="{24707F27-9BDC-4806-BB14-B494577B9E97}"/>
              </a:ext>
            </a:extLst>
          </p:cNvPr>
          <p:cNvSpPr txBox="1"/>
          <p:nvPr/>
        </p:nvSpPr>
        <p:spPr>
          <a:xfrm>
            <a:off x="8314209" y="3273525"/>
            <a:ext cx="2757171" cy="1075359"/>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12</a:t>
            </a:r>
            <a:r>
              <a:rPr lang="zh-CN" altLang="en-US" sz="1200" dirty="0">
                <a:sym typeface="+mn-lt"/>
              </a:rPr>
              <a:t>年、</a:t>
            </a:r>
            <a:r>
              <a:rPr lang="en-US" altLang="zh-CN" sz="1200" dirty="0">
                <a:sym typeface="+mn-lt"/>
              </a:rPr>
              <a:t>2016</a:t>
            </a:r>
            <a:r>
              <a:rPr lang="zh-CN" altLang="en-US" sz="1200" dirty="0">
                <a:sym typeface="+mn-lt"/>
              </a:rPr>
              <a:t>年先后印发</a:t>
            </a:r>
            <a:r>
              <a:rPr lang="en-US" altLang="zh-CN" sz="1200" dirty="0">
                <a:sym typeface="+mn-lt"/>
              </a:rPr>
              <a:t>《</a:t>
            </a:r>
            <a:r>
              <a:rPr lang="zh-CN" altLang="en-US" sz="1200" dirty="0">
                <a:sym typeface="+mn-lt"/>
              </a:rPr>
              <a:t>国务院关于深入推进义务教育均衡发展的意见</a:t>
            </a:r>
            <a:r>
              <a:rPr lang="en-US" altLang="zh-CN" sz="1200" dirty="0">
                <a:sym typeface="+mn-lt"/>
              </a:rPr>
              <a:t>》</a:t>
            </a:r>
            <a:r>
              <a:rPr lang="zh-CN" altLang="en-US" sz="1200" dirty="0">
                <a:sym typeface="+mn-lt"/>
              </a:rPr>
              <a:t>和</a:t>
            </a:r>
            <a:r>
              <a:rPr lang="en-US" altLang="zh-CN" sz="1200" dirty="0">
                <a:sym typeface="+mn-lt"/>
              </a:rPr>
              <a:t>《</a:t>
            </a:r>
            <a:r>
              <a:rPr lang="zh-CN" altLang="en-US" sz="1200" dirty="0">
                <a:sym typeface="+mn-lt"/>
              </a:rPr>
              <a:t>国务院关于统筹推进县域内城乡义务教育一体化改革发展的若干意见</a:t>
            </a:r>
            <a:r>
              <a:rPr lang="en-US" altLang="zh-CN" sz="1200" dirty="0">
                <a:sym typeface="+mn-lt"/>
              </a:rPr>
              <a:t>》</a:t>
            </a:r>
            <a:r>
              <a:rPr lang="zh-CN" altLang="en-US" sz="1200" dirty="0">
                <a:sym typeface="+mn-lt"/>
              </a:rPr>
              <a:t>。</a:t>
            </a:r>
            <a:endParaRPr lang="en-US" altLang="zh-CN" sz="1200" dirty="0">
              <a:sym typeface="+mn-lt"/>
            </a:endParaRPr>
          </a:p>
        </p:txBody>
      </p:sp>
      <p:sp>
        <p:nvSpPr>
          <p:cNvPr id="69" name="Synergistically utilize technically sound portals with frictionless chains. Dramatically customize…">
            <a:extLst>
              <a:ext uri="{FF2B5EF4-FFF2-40B4-BE49-F238E27FC236}">
                <a16:creationId xmlns:a16="http://schemas.microsoft.com/office/drawing/2014/main" id="{3EDEF632-CDDB-4EB8-82B0-F78199A2C9ED}"/>
              </a:ext>
            </a:extLst>
          </p:cNvPr>
          <p:cNvSpPr txBox="1"/>
          <p:nvPr/>
        </p:nvSpPr>
        <p:spPr>
          <a:xfrm>
            <a:off x="8289571" y="5042519"/>
            <a:ext cx="2625831" cy="1126975"/>
          </a:xfrm>
          <a:prstGeom prst="rect">
            <a:avLst/>
          </a:prstGeom>
          <a:ln w="12700">
            <a:miter lim="400000"/>
          </a:ln>
          <a:extLst>
            <a:ext uri="{C572A759-6A51-4108-AA02-DFA0A04FC94B}">
              <ma14:wrappingTextBoxFlag xmlns="" xmlns:a16="http://schemas.microsoft.com/office/drawing/2014/main" xmlns:mc="http://schemas.openxmlformats.org/markup-compatibility/2006"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dirty="0">
                <a:sym typeface="+mn-lt"/>
              </a:rPr>
              <a:t>《</a:t>
            </a:r>
            <a:r>
              <a:rPr lang="zh-CN" altLang="en-US" dirty="0">
                <a:sym typeface="+mn-lt"/>
              </a:rPr>
              <a:t>中华人民共和国国民经济和社会发展第十四个五年规划和</a:t>
            </a:r>
            <a:r>
              <a:rPr lang="en-US" altLang="zh-CN" dirty="0">
                <a:sym typeface="+mn-lt"/>
              </a:rPr>
              <a:t>2035</a:t>
            </a:r>
            <a:r>
              <a:rPr lang="zh-CN" altLang="en-US" dirty="0">
                <a:sym typeface="+mn-lt"/>
              </a:rPr>
              <a:t>年远景目标纲要</a:t>
            </a:r>
            <a:r>
              <a:rPr lang="en-US" altLang="zh-CN" dirty="0">
                <a:sym typeface="+mn-lt"/>
              </a:rPr>
              <a:t>》</a:t>
            </a:r>
          </a:p>
          <a:p>
            <a:r>
              <a:rPr lang="en-US" altLang="zh-CN" dirty="0">
                <a:sym typeface="+mn-lt"/>
              </a:rPr>
              <a:t>《</a:t>
            </a:r>
            <a:r>
              <a:rPr lang="zh-CN" altLang="en-US" dirty="0">
                <a:sym typeface="+mn-lt"/>
              </a:rPr>
              <a:t>天津市国民经济和社会发展第十四个五年规划和二〇三五年远景目标纲要</a:t>
            </a:r>
            <a:r>
              <a:rPr lang="en-US" altLang="zh-CN" dirty="0">
                <a:sym typeface="+mn-lt"/>
              </a:rPr>
              <a:t>》</a:t>
            </a:r>
          </a:p>
          <a:p>
            <a:endParaRPr lang="en-US" altLang="zh-CN" dirty="0">
              <a:sym typeface="+mn-lt"/>
            </a:endParaRPr>
          </a:p>
        </p:txBody>
      </p:sp>
      <p:sp>
        <p:nvSpPr>
          <p:cNvPr id="70" name="Google Shape;1496;p40">
            <a:extLst>
              <a:ext uri="{FF2B5EF4-FFF2-40B4-BE49-F238E27FC236}">
                <a16:creationId xmlns:a16="http://schemas.microsoft.com/office/drawing/2014/main" id="{3A75F91C-BEC0-46EC-BB6B-BB49C5D1661F}"/>
              </a:ext>
            </a:extLst>
          </p:cNvPr>
          <p:cNvSpPr txBox="1"/>
          <p:nvPr/>
        </p:nvSpPr>
        <p:spPr>
          <a:xfrm>
            <a:off x="9154952" y="169294"/>
            <a:ext cx="2857200" cy="496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 dirty="0">
                <a:latin typeface="+mn-lt"/>
                <a:cs typeface="+mn-ea"/>
                <a:sym typeface="+mn-lt"/>
              </a:rPr>
              <a:t> </a:t>
            </a:r>
            <a:endParaRPr dirty="0">
              <a:latin typeface="+mn-lt"/>
              <a:cs typeface="+mn-ea"/>
              <a:sym typeface="+mn-lt"/>
            </a:endParaRPr>
          </a:p>
        </p:txBody>
      </p:sp>
      <p:sp>
        <p:nvSpPr>
          <p:cNvPr id="71" name="文本框 70">
            <a:extLst>
              <a:ext uri="{FF2B5EF4-FFF2-40B4-BE49-F238E27FC236}">
                <a16:creationId xmlns:a16="http://schemas.microsoft.com/office/drawing/2014/main" id="{84BA7E3B-4AF3-4655-8443-832F1FDC7AF9}"/>
              </a:ext>
            </a:extLst>
          </p:cNvPr>
          <p:cNvSpPr txBox="1"/>
          <p:nvPr/>
        </p:nvSpPr>
        <p:spPr>
          <a:xfrm>
            <a:off x="9470324" y="232828"/>
            <a:ext cx="2226455" cy="369332"/>
          </a:xfrm>
          <a:prstGeom prst="rect">
            <a:avLst/>
          </a:prstGeom>
          <a:noFill/>
        </p:spPr>
        <p:txBody>
          <a:bodyPr wrap="square" rtlCol="0">
            <a:spAutoFit/>
          </a:bodyPr>
          <a:lstStyle/>
          <a:p>
            <a:pPr algn="dist"/>
            <a:r>
              <a:rPr lang="zh-CN" altLang="en-US" b="1" dirty="0">
                <a:solidFill>
                  <a:schemeClr val="bg1"/>
                </a:solidFill>
                <a:latin typeface="+mj-ea"/>
                <a:ea typeface="+mj-ea"/>
                <a:cs typeface="+mn-ea"/>
                <a:sym typeface="+mn-lt"/>
              </a:rPr>
              <a:t>制定的背景</a:t>
            </a: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6"/>
                                        </p:tgtEl>
                                        <p:attrNameLst>
                                          <p:attrName>style.visibility</p:attrName>
                                        </p:attrNameLst>
                                      </p:cBhvr>
                                      <p:to>
                                        <p:strVal val="visible"/>
                                      </p:to>
                                    </p:set>
                                    <p:animEffect transition="in" filter="fade">
                                      <p:cBhvr>
                                        <p:cTn id="11" dur="500"/>
                                        <p:tgtEl>
                                          <p:spTgt spid="6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fade">
                                      <p:cBhvr>
                                        <p:cTn id="2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6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FB00E9B-2118-4795-858B-C26AD2C4A252}"/>
              </a:ext>
            </a:extLst>
          </p:cNvPr>
          <p:cNvSpPr>
            <a:spLocks noGrp="1"/>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white"/>
              </a:solidFill>
              <a:effectLst/>
              <a:uLnTx/>
              <a:uFillTx/>
              <a:cs typeface="+mn-ea"/>
              <a:sym typeface="+mn-lt"/>
            </a:endParaRPr>
          </a:p>
        </p:txBody>
      </p:sp>
      <p:cxnSp>
        <p:nvCxnSpPr>
          <p:cNvPr id="7" name="Straight Connector 6">
            <a:extLst>
              <a:ext uri="{FF2B5EF4-FFF2-40B4-BE49-F238E27FC236}">
                <a16:creationId xmlns:a16="http://schemas.microsoft.com/office/drawing/2014/main" id="{930EB973-E764-4555-A34A-4F5D8AD78496}"/>
              </a:ext>
            </a:extLst>
          </p:cNvPr>
          <p:cNvCxnSpPr>
            <a:cxnSpLocks/>
          </p:cNvCxnSpPr>
          <p:nvPr/>
        </p:nvCxnSpPr>
        <p:spPr>
          <a:xfrm>
            <a:off x="6096001" y="1817440"/>
            <a:ext cx="4463440" cy="0"/>
          </a:xfrm>
          <a:prstGeom prst="line">
            <a:avLst/>
          </a:prstGeom>
          <a:ln w="127000">
            <a:gradFill flip="none" rotWithShape="1">
              <a:gsLst>
                <a:gs pos="0">
                  <a:schemeClr val="accent2">
                    <a:lumMod val="75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1" name="Rectangle 4">
            <a:extLst>
              <a:ext uri="{FF2B5EF4-FFF2-40B4-BE49-F238E27FC236}">
                <a16:creationId xmlns:a16="http://schemas.microsoft.com/office/drawing/2014/main" id="{B210F6F7-62F4-4E9E-9E2E-B49C62584D97}"/>
              </a:ext>
            </a:extLst>
          </p:cNvPr>
          <p:cNvSpPr/>
          <p:nvPr/>
        </p:nvSpPr>
        <p:spPr>
          <a:xfrm>
            <a:off x="0" y="0"/>
            <a:ext cx="6124861" cy="634044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blipFill>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8" name="Rectangle 4">
            <a:extLst>
              <a:ext uri="{FF2B5EF4-FFF2-40B4-BE49-F238E27FC236}">
                <a16:creationId xmlns:a16="http://schemas.microsoft.com/office/drawing/2014/main" id="{335DD443-E2CB-42AD-B9A3-9D9173848429}"/>
              </a:ext>
            </a:extLst>
          </p:cNvPr>
          <p:cNvSpPr/>
          <p:nvPr/>
        </p:nvSpPr>
        <p:spPr>
          <a:xfrm>
            <a:off x="-1" y="0"/>
            <a:ext cx="6124861" cy="634044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 fmla="*/ 0 w 6615112"/>
              <a:gd name="connsiteY0" fmla="*/ 0 h 6615112"/>
              <a:gd name="connsiteX1" fmla="*/ 5880100 w 6615112"/>
              <a:gd name="connsiteY1" fmla="*/ 0 h 6615112"/>
              <a:gd name="connsiteX2" fmla="*/ 5880100 w 6615112"/>
              <a:gd name="connsiteY2" fmla="*/ 5880100 h 6615112"/>
              <a:gd name="connsiteX3" fmla="*/ 0 w 6615112"/>
              <a:gd name="connsiteY3" fmla="*/ 5880100 h 6615112"/>
              <a:gd name="connsiteX4" fmla="*/ 0 w 6615112"/>
              <a:gd name="connsiteY4" fmla="*/ 0 h 6615112"/>
              <a:gd name="connsiteX0" fmla="*/ 0 w 6145189"/>
              <a:gd name="connsiteY0" fmla="*/ 0 h 6082525"/>
              <a:gd name="connsiteX1" fmla="*/ 5880100 w 6145189"/>
              <a:gd name="connsiteY1" fmla="*/ 0 h 6082525"/>
              <a:gd name="connsiteX2" fmla="*/ 3898900 w 6145189"/>
              <a:gd name="connsiteY2" fmla="*/ 3035300 h 6082525"/>
              <a:gd name="connsiteX3" fmla="*/ 0 w 6145189"/>
              <a:gd name="connsiteY3" fmla="*/ 5880100 h 6082525"/>
              <a:gd name="connsiteX4" fmla="*/ 0 w 6145189"/>
              <a:gd name="connsiteY4" fmla="*/ 0 h 6082525"/>
              <a:gd name="connsiteX0" fmla="*/ 0 w 6085854"/>
              <a:gd name="connsiteY0" fmla="*/ 0 h 6135502"/>
              <a:gd name="connsiteX1" fmla="*/ 5880100 w 6085854"/>
              <a:gd name="connsiteY1" fmla="*/ 0 h 6135502"/>
              <a:gd name="connsiteX2" fmla="*/ 3898900 w 6085854"/>
              <a:gd name="connsiteY2" fmla="*/ 3035300 h 6135502"/>
              <a:gd name="connsiteX3" fmla="*/ 0 w 6085854"/>
              <a:gd name="connsiteY3" fmla="*/ 5880100 h 6135502"/>
              <a:gd name="connsiteX4" fmla="*/ 0 w 6085854"/>
              <a:gd name="connsiteY4" fmla="*/ 0 h 6135502"/>
              <a:gd name="connsiteX0" fmla="*/ 0 w 6113652"/>
              <a:gd name="connsiteY0" fmla="*/ 0 h 6259192"/>
              <a:gd name="connsiteX1" fmla="*/ 5880100 w 6113652"/>
              <a:gd name="connsiteY1" fmla="*/ 0 h 6259192"/>
              <a:gd name="connsiteX2" fmla="*/ 4318000 w 6113652"/>
              <a:gd name="connsiteY2" fmla="*/ 4038600 h 6259192"/>
              <a:gd name="connsiteX3" fmla="*/ 0 w 6113652"/>
              <a:gd name="connsiteY3" fmla="*/ 5880100 h 6259192"/>
              <a:gd name="connsiteX4" fmla="*/ 0 w 6113652"/>
              <a:gd name="connsiteY4" fmla="*/ 0 h 6259192"/>
              <a:gd name="connsiteX0" fmla="*/ 0 w 6124861"/>
              <a:gd name="connsiteY0" fmla="*/ 0 h 6340446"/>
              <a:gd name="connsiteX1" fmla="*/ 5880100 w 6124861"/>
              <a:gd name="connsiteY1" fmla="*/ 0 h 6340446"/>
              <a:gd name="connsiteX2" fmla="*/ 4318000 w 6124861"/>
              <a:gd name="connsiteY2" fmla="*/ 4038600 h 6340446"/>
              <a:gd name="connsiteX3" fmla="*/ 0 w 6124861"/>
              <a:gd name="connsiteY3" fmla="*/ 5880100 h 6340446"/>
              <a:gd name="connsiteX4" fmla="*/ 0 w 6124861"/>
              <a:gd name="connsiteY4" fmla="*/ 0 h 6340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6" name="Google Shape;1496;p40">
            <a:extLst>
              <a:ext uri="{FF2B5EF4-FFF2-40B4-BE49-F238E27FC236}">
                <a16:creationId xmlns:a16="http://schemas.microsoft.com/office/drawing/2014/main" id="{62687021-3FF7-499B-B1D6-2394985446FD}"/>
              </a:ext>
            </a:extLst>
          </p:cNvPr>
          <p:cNvSpPr txBox="1"/>
          <p:nvPr/>
        </p:nvSpPr>
        <p:spPr>
          <a:xfrm>
            <a:off x="9122334" y="213467"/>
            <a:ext cx="2857200" cy="496400"/>
          </a:xfrm>
          <a:prstGeom prst="rect">
            <a:avLst/>
          </a:pr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marR="0" lvl="0" indent="0" algn="ctr" defTabSz="914400"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 dirty="0">
                <a:latin typeface="+mn-lt"/>
                <a:cs typeface="+mn-ea"/>
                <a:sym typeface="+mn-lt"/>
              </a:rPr>
              <a:t> </a:t>
            </a:r>
            <a:endParaRPr dirty="0">
              <a:latin typeface="+mn-lt"/>
              <a:cs typeface="+mn-ea"/>
              <a:sym typeface="+mn-lt"/>
            </a:endParaRPr>
          </a:p>
        </p:txBody>
      </p:sp>
      <p:sp>
        <p:nvSpPr>
          <p:cNvPr id="9" name="文本框 8">
            <a:extLst>
              <a:ext uri="{FF2B5EF4-FFF2-40B4-BE49-F238E27FC236}">
                <a16:creationId xmlns:a16="http://schemas.microsoft.com/office/drawing/2014/main" id="{EB100579-2EEE-4086-B64E-FC543C4EAFEB}"/>
              </a:ext>
            </a:extLst>
          </p:cNvPr>
          <p:cNvSpPr txBox="1"/>
          <p:nvPr/>
        </p:nvSpPr>
        <p:spPr>
          <a:xfrm>
            <a:off x="9398609" y="285606"/>
            <a:ext cx="2226455" cy="369332"/>
          </a:xfrm>
          <a:prstGeom prst="rect">
            <a:avLst/>
          </a:prstGeom>
          <a:noFill/>
        </p:spPr>
        <p:txBody>
          <a:bodyPr wrap="square" rtlCol="0">
            <a:spAutoFit/>
          </a:bodyPr>
          <a:lstStyle/>
          <a:p>
            <a:pPr algn="dist"/>
            <a:r>
              <a:rPr lang="zh-CN" altLang="en-US" b="1" dirty="0">
                <a:solidFill>
                  <a:schemeClr val="bg1"/>
                </a:solidFill>
                <a:cs typeface="+mn-ea"/>
                <a:sym typeface="+mn-lt"/>
              </a:rPr>
              <a:t>制定的背景</a:t>
            </a:r>
            <a:endParaRPr lang="zh-CN" altLang="en-US" sz="1400" b="1" dirty="0">
              <a:solidFill>
                <a:schemeClr val="bg1"/>
              </a:solidFill>
              <a:cs typeface="+mn-ea"/>
              <a:sym typeface="+mn-lt"/>
            </a:endParaRPr>
          </a:p>
        </p:txBody>
      </p:sp>
      <p:sp>
        <p:nvSpPr>
          <p:cNvPr id="10" name="Google Shape;1945;p43">
            <a:extLst>
              <a:ext uri="{FF2B5EF4-FFF2-40B4-BE49-F238E27FC236}">
                <a16:creationId xmlns:a16="http://schemas.microsoft.com/office/drawing/2014/main" id="{DDA4216D-1573-42B3-A4BF-8EA1EFB18A9D}"/>
              </a:ext>
            </a:extLst>
          </p:cNvPr>
          <p:cNvSpPr/>
          <p:nvPr/>
        </p:nvSpPr>
        <p:spPr>
          <a:xfrm>
            <a:off x="5957104" y="2044825"/>
            <a:ext cx="4841059" cy="73669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sz="2000" b="1">
              <a:solidFill>
                <a:schemeClr val="bg1"/>
              </a:solidFill>
              <a:cs typeface="+mn-ea"/>
              <a:sym typeface="+mn-lt"/>
            </a:endParaRPr>
          </a:p>
        </p:txBody>
      </p:sp>
      <p:sp>
        <p:nvSpPr>
          <p:cNvPr id="12" name="Synergistically utilize technically sound portals with frictionless chains. Dramatically customize…">
            <a:extLst>
              <a:ext uri="{FF2B5EF4-FFF2-40B4-BE49-F238E27FC236}">
                <a16:creationId xmlns:a16="http://schemas.microsoft.com/office/drawing/2014/main" id="{50182961-B5CE-4CCE-BDB1-6C8507D858EC}"/>
              </a:ext>
            </a:extLst>
          </p:cNvPr>
          <p:cNvSpPr txBox="1"/>
          <p:nvPr/>
        </p:nvSpPr>
        <p:spPr>
          <a:xfrm>
            <a:off x="6188469" y="2247561"/>
            <a:ext cx="4547315" cy="243785"/>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p>
            <a:pPr defTabSz="412750" hangingPunct="0">
              <a:lnSpc>
                <a:spcPct val="150000"/>
              </a:lnSpc>
              <a:defRPr sz="2000" b="0">
                <a:solidFill>
                  <a:srgbClr val="1C1F25"/>
                </a:solidFill>
                <a:latin typeface="Roboto Bold"/>
                <a:ea typeface="Roboto Bold"/>
                <a:cs typeface="Roboto Bold"/>
                <a:sym typeface="Roboto Bold"/>
              </a:defRPr>
            </a:pPr>
            <a:r>
              <a:rPr lang="zh-CN" altLang="en-US" sz="1200" kern="0" dirty="0">
                <a:solidFill>
                  <a:schemeClr val="bg1"/>
                </a:solidFill>
                <a:cs typeface="+mn-ea"/>
                <a:sym typeface="+mn-lt"/>
              </a:rPr>
              <a:t>严格对标对表教育部</a:t>
            </a:r>
            <a:r>
              <a:rPr lang="en-US" altLang="zh-CN" sz="1200" kern="0" dirty="0">
                <a:solidFill>
                  <a:schemeClr val="bg1"/>
                </a:solidFill>
                <a:cs typeface="+mn-ea"/>
                <a:sym typeface="+mn-lt"/>
              </a:rPr>
              <a:t>《</a:t>
            </a:r>
            <a:r>
              <a:rPr lang="zh-CN" altLang="en-US" sz="1200" kern="0" dirty="0">
                <a:solidFill>
                  <a:schemeClr val="bg1"/>
                </a:solidFill>
                <a:cs typeface="+mn-ea"/>
                <a:sym typeface="+mn-lt"/>
              </a:rPr>
              <a:t>县域义务教育优质均衡发展督导评估办法</a:t>
            </a:r>
            <a:r>
              <a:rPr lang="en-US" altLang="zh-CN" sz="1200" kern="0" dirty="0">
                <a:solidFill>
                  <a:schemeClr val="bg1"/>
                </a:solidFill>
                <a:cs typeface="+mn-ea"/>
                <a:sym typeface="+mn-lt"/>
              </a:rPr>
              <a:t>》</a:t>
            </a:r>
          </a:p>
        </p:txBody>
      </p:sp>
      <p:sp>
        <p:nvSpPr>
          <p:cNvPr id="13" name="Google Shape;1945;p43">
            <a:extLst>
              <a:ext uri="{FF2B5EF4-FFF2-40B4-BE49-F238E27FC236}">
                <a16:creationId xmlns:a16="http://schemas.microsoft.com/office/drawing/2014/main" id="{DC214AB6-EE79-4C5D-92C2-3692767BE09F}"/>
              </a:ext>
            </a:extLst>
          </p:cNvPr>
          <p:cNvSpPr/>
          <p:nvPr/>
        </p:nvSpPr>
        <p:spPr>
          <a:xfrm>
            <a:off x="5957104" y="3008905"/>
            <a:ext cx="4841059" cy="1112158"/>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sz="2000" b="1">
              <a:solidFill>
                <a:schemeClr val="bg1"/>
              </a:solidFill>
              <a:cs typeface="+mn-ea"/>
              <a:sym typeface="+mn-lt"/>
            </a:endParaRPr>
          </a:p>
        </p:txBody>
      </p:sp>
      <p:sp>
        <p:nvSpPr>
          <p:cNvPr id="14" name="Synergistically utilize technically sound portals with frictionless chains. Dramatically customize…">
            <a:extLst>
              <a:ext uri="{FF2B5EF4-FFF2-40B4-BE49-F238E27FC236}">
                <a16:creationId xmlns:a16="http://schemas.microsoft.com/office/drawing/2014/main" id="{456FB51B-80B2-46BE-898E-C6BA4A275914}"/>
              </a:ext>
            </a:extLst>
          </p:cNvPr>
          <p:cNvSpPr txBox="1"/>
          <p:nvPr/>
        </p:nvSpPr>
        <p:spPr>
          <a:xfrm>
            <a:off x="6241981" y="3132365"/>
            <a:ext cx="4468751" cy="797782"/>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p>
            <a:pPr defTabSz="412750" hangingPunct="0">
              <a:lnSpc>
                <a:spcPct val="150000"/>
              </a:lnSpc>
              <a:defRPr sz="2000" b="0">
                <a:solidFill>
                  <a:srgbClr val="1C1F25"/>
                </a:solidFill>
                <a:latin typeface="Roboto Bold"/>
                <a:ea typeface="Roboto Bold"/>
                <a:cs typeface="Roboto Bold"/>
                <a:sym typeface="Roboto Bold"/>
              </a:defRPr>
            </a:pPr>
            <a:r>
              <a:rPr lang="zh-CN" altLang="en-US" sz="1200" kern="0" dirty="0">
                <a:solidFill>
                  <a:schemeClr val="bg1"/>
                </a:solidFill>
                <a:cs typeface="+mn-ea"/>
                <a:sym typeface="+mn-lt"/>
              </a:rPr>
              <a:t>实施</a:t>
            </a:r>
            <a:r>
              <a:rPr lang="en-US" altLang="zh-CN" sz="1200" kern="0" dirty="0">
                <a:solidFill>
                  <a:schemeClr val="bg1"/>
                </a:solidFill>
                <a:cs typeface="+mn-ea"/>
                <a:sym typeface="+mn-lt"/>
              </a:rPr>
              <a:t>《</a:t>
            </a:r>
            <a:r>
              <a:rPr lang="zh-CN" altLang="en-US" sz="1200" kern="0" dirty="0">
                <a:solidFill>
                  <a:schemeClr val="bg1"/>
                </a:solidFill>
                <a:cs typeface="+mn-ea"/>
                <a:sym typeface="+mn-lt"/>
              </a:rPr>
              <a:t>加快推进滨海新区教育现代化三年行动计划实施方案（</a:t>
            </a:r>
            <a:r>
              <a:rPr lang="en-US" altLang="zh-CN" sz="1200" kern="0" dirty="0">
                <a:solidFill>
                  <a:schemeClr val="bg1"/>
                </a:solidFill>
                <a:cs typeface="+mn-ea"/>
                <a:sym typeface="+mn-lt"/>
              </a:rPr>
              <a:t>2020—2022</a:t>
            </a:r>
            <a:r>
              <a:rPr lang="zh-CN" altLang="en-US" sz="1200" kern="0" dirty="0">
                <a:solidFill>
                  <a:schemeClr val="bg1"/>
                </a:solidFill>
                <a:cs typeface="+mn-ea"/>
                <a:sym typeface="+mn-lt"/>
              </a:rPr>
              <a:t>年）</a:t>
            </a:r>
            <a:r>
              <a:rPr lang="en-US" altLang="zh-CN" sz="1200" kern="0" dirty="0">
                <a:solidFill>
                  <a:schemeClr val="bg1"/>
                </a:solidFill>
                <a:cs typeface="+mn-ea"/>
                <a:sym typeface="+mn-lt"/>
              </a:rPr>
              <a:t>》《</a:t>
            </a:r>
            <a:r>
              <a:rPr lang="zh-CN" altLang="en-US" sz="1200" kern="0" dirty="0">
                <a:solidFill>
                  <a:schemeClr val="bg1"/>
                </a:solidFill>
                <a:cs typeface="+mn-ea"/>
                <a:sym typeface="+mn-lt"/>
              </a:rPr>
              <a:t>关于加快推进新时代滨海新区高质量发展的攻坚行动方案</a:t>
            </a:r>
            <a:r>
              <a:rPr lang="en-US" altLang="zh-CN" sz="1200" kern="0" dirty="0">
                <a:solidFill>
                  <a:schemeClr val="bg1"/>
                </a:solidFill>
                <a:cs typeface="+mn-ea"/>
                <a:sym typeface="+mn-lt"/>
              </a:rPr>
              <a:t>》《</a:t>
            </a:r>
            <a:r>
              <a:rPr lang="zh-CN" altLang="en-US" sz="1200" kern="0" dirty="0">
                <a:solidFill>
                  <a:schemeClr val="bg1"/>
                </a:solidFill>
                <a:cs typeface="+mn-ea"/>
                <a:sym typeface="+mn-lt"/>
              </a:rPr>
              <a:t>滨海新区</a:t>
            </a:r>
            <a:r>
              <a:rPr lang="en-US" altLang="zh-CN" sz="1200" kern="0" dirty="0">
                <a:solidFill>
                  <a:schemeClr val="bg1"/>
                </a:solidFill>
                <a:cs typeface="+mn-ea"/>
                <a:sym typeface="+mn-lt"/>
              </a:rPr>
              <a:t>2021</a:t>
            </a:r>
            <a:r>
              <a:rPr lang="zh-CN" altLang="en-US" sz="1200" kern="0" dirty="0">
                <a:solidFill>
                  <a:schemeClr val="bg1"/>
                </a:solidFill>
                <a:cs typeface="+mn-ea"/>
                <a:sym typeface="+mn-lt"/>
              </a:rPr>
              <a:t>年教育事业补短板工作计划</a:t>
            </a:r>
            <a:r>
              <a:rPr lang="en-US" altLang="zh-CN" sz="1200" kern="0" dirty="0">
                <a:solidFill>
                  <a:schemeClr val="bg1"/>
                </a:solidFill>
                <a:cs typeface="+mn-ea"/>
                <a:sym typeface="+mn-lt"/>
              </a:rPr>
              <a:t>》</a:t>
            </a:r>
          </a:p>
        </p:txBody>
      </p:sp>
      <p:sp>
        <p:nvSpPr>
          <p:cNvPr id="15" name="Google Shape;1945;p43">
            <a:extLst>
              <a:ext uri="{FF2B5EF4-FFF2-40B4-BE49-F238E27FC236}">
                <a16:creationId xmlns:a16="http://schemas.microsoft.com/office/drawing/2014/main" id="{811F6A2C-26E6-4A55-ADF2-190E45F6FDF2}"/>
              </a:ext>
            </a:extLst>
          </p:cNvPr>
          <p:cNvSpPr/>
          <p:nvPr/>
        </p:nvSpPr>
        <p:spPr>
          <a:xfrm>
            <a:off x="5957104" y="4348448"/>
            <a:ext cx="4841059" cy="73669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sz="2000" b="1">
              <a:solidFill>
                <a:schemeClr val="bg1"/>
              </a:solidFill>
              <a:cs typeface="+mn-ea"/>
              <a:sym typeface="+mn-lt"/>
            </a:endParaRPr>
          </a:p>
        </p:txBody>
      </p:sp>
      <p:sp>
        <p:nvSpPr>
          <p:cNvPr id="16" name="Synergistically utilize technically sound portals with frictionless chains. Dramatically customize…">
            <a:extLst>
              <a:ext uri="{FF2B5EF4-FFF2-40B4-BE49-F238E27FC236}">
                <a16:creationId xmlns:a16="http://schemas.microsoft.com/office/drawing/2014/main" id="{79DE1BC2-C2F4-4AE8-8405-D5F4241453ED}"/>
              </a:ext>
            </a:extLst>
          </p:cNvPr>
          <p:cNvSpPr txBox="1"/>
          <p:nvPr/>
        </p:nvSpPr>
        <p:spPr>
          <a:xfrm>
            <a:off x="6241981" y="4448749"/>
            <a:ext cx="4317460" cy="520784"/>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p>
            <a:pPr defTabSz="412750" hangingPunct="0">
              <a:lnSpc>
                <a:spcPct val="150000"/>
              </a:lnSpc>
              <a:defRPr sz="2000" b="0">
                <a:solidFill>
                  <a:srgbClr val="1C1F25"/>
                </a:solidFill>
                <a:latin typeface="Roboto Bold"/>
                <a:ea typeface="Roboto Bold"/>
                <a:cs typeface="Roboto Bold"/>
                <a:sym typeface="Roboto Bold"/>
              </a:defRPr>
            </a:pPr>
            <a:r>
              <a:rPr lang="zh-CN" altLang="en-US" sz="1200" kern="0" dirty="0">
                <a:solidFill>
                  <a:schemeClr val="bg1"/>
                </a:solidFill>
                <a:cs typeface="+mn-ea"/>
                <a:sym typeface="+mn-lt"/>
              </a:rPr>
              <a:t>深入调研、反复论证，研究制定</a:t>
            </a:r>
            <a:r>
              <a:rPr lang="en-US" altLang="zh-CN" sz="1200" kern="0" dirty="0">
                <a:solidFill>
                  <a:schemeClr val="bg1"/>
                </a:solidFill>
                <a:cs typeface="+mn-ea"/>
                <a:sym typeface="+mn-lt"/>
              </a:rPr>
              <a:t>《</a:t>
            </a:r>
            <a:r>
              <a:rPr lang="zh-CN" altLang="en-US" sz="1200" kern="0" dirty="0">
                <a:solidFill>
                  <a:schemeClr val="bg1"/>
                </a:solidFill>
                <a:cs typeface="+mn-ea"/>
                <a:sym typeface="+mn-lt"/>
              </a:rPr>
              <a:t>行动方案</a:t>
            </a:r>
            <a:r>
              <a:rPr lang="en-US" altLang="zh-CN" sz="1200" kern="0" dirty="0">
                <a:solidFill>
                  <a:schemeClr val="bg1"/>
                </a:solidFill>
                <a:cs typeface="+mn-ea"/>
                <a:sym typeface="+mn-lt"/>
              </a:rPr>
              <a:t>》</a:t>
            </a:r>
            <a:r>
              <a:rPr lang="zh-CN" altLang="en-US" sz="1200" kern="0" dirty="0">
                <a:solidFill>
                  <a:schemeClr val="bg1"/>
                </a:solidFill>
                <a:cs typeface="+mn-ea"/>
                <a:sym typeface="+mn-lt"/>
              </a:rPr>
              <a:t>，广泛征求意见，多次修改完善。</a:t>
            </a:r>
            <a:endParaRPr lang="en-US" altLang="zh-CN" sz="1200" kern="0" dirty="0">
              <a:solidFill>
                <a:schemeClr val="bg1"/>
              </a:solidFill>
              <a:cs typeface="+mn-ea"/>
              <a:sym typeface="+mn-lt"/>
            </a:endParaRPr>
          </a:p>
        </p:txBody>
      </p:sp>
      <p:sp>
        <p:nvSpPr>
          <p:cNvPr id="17" name="椭圆 16">
            <a:extLst>
              <a:ext uri="{FF2B5EF4-FFF2-40B4-BE49-F238E27FC236}">
                <a16:creationId xmlns:a16="http://schemas.microsoft.com/office/drawing/2014/main" id="{EDDCF830-82E1-49C8-83CC-60E49CE9B1D6}"/>
              </a:ext>
            </a:extLst>
          </p:cNvPr>
          <p:cNvSpPr/>
          <p:nvPr/>
        </p:nvSpPr>
        <p:spPr>
          <a:xfrm>
            <a:off x="2068867" y="5243386"/>
            <a:ext cx="188572" cy="18857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F3E47"/>
              </a:solidFill>
              <a:cs typeface="+mn-ea"/>
              <a:sym typeface="+mn-lt"/>
            </a:endParaRPr>
          </a:p>
        </p:txBody>
      </p:sp>
      <p:sp>
        <p:nvSpPr>
          <p:cNvPr id="18" name="椭圆 17">
            <a:extLst>
              <a:ext uri="{FF2B5EF4-FFF2-40B4-BE49-F238E27FC236}">
                <a16:creationId xmlns:a16="http://schemas.microsoft.com/office/drawing/2014/main" id="{38F98505-C5E9-4FFF-8033-6F85EA766A5D}"/>
              </a:ext>
            </a:extLst>
          </p:cNvPr>
          <p:cNvSpPr/>
          <p:nvPr/>
        </p:nvSpPr>
        <p:spPr>
          <a:xfrm>
            <a:off x="815214" y="5009522"/>
            <a:ext cx="188572" cy="18857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F3E47"/>
              </a:solidFill>
              <a:cs typeface="+mn-ea"/>
              <a:sym typeface="+mn-lt"/>
            </a:endParaRPr>
          </a:p>
        </p:txBody>
      </p:sp>
      <p:sp>
        <p:nvSpPr>
          <p:cNvPr id="19" name="椭圆 18">
            <a:extLst>
              <a:ext uri="{FF2B5EF4-FFF2-40B4-BE49-F238E27FC236}">
                <a16:creationId xmlns:a16="http://schemas.microsoft.com/office/drawing/2014/main" id="{DC331C6B-7C1A-4D8C-B19D-0F1FE80E1572}"/>
              </a:ext>
            </a:extLst>
          </p:cNvPr>
          <p:cNvSpPr/>
          <p:nvPr/>
        </p:nvSpPr>
        <p:spPr>
          <a:xfrm>
            <a:off x="1316628" y="4443656"/>
            <a:ext cx="532051" cy="53205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F3E47"/>
              </a:solidFill>
              <a:cs typeface="+mn-ea"/>
              <a:sym typeface="+mn-lt"/>
            </a:endParaRPr>
          </a:p>
        </p:txBody>
      </p:sp>
      <p:sp>
        <p:nvSpPr>
          <p:cNvPr id="20" name="Synergistically utilize technically sound portals with frictionless chains. Dramatically customize…">
            <a:extLst>
              <a:ext uri="{FF2B5EF4-FFF2-40B4-BE49-F238E27FC236}">
                <a16:creationId xmlns:a16="http://schemas.microsoft.com/office/drawing/2014/main" id="{1B99DBB3-4AB4-4D1B-B13D-84BDB953AE6C}"/>
              </a:ext>
            </a:extLst>
          </p:cNvPr>
          <p:cNvSpPr txBox="1"/>
          <p:nvPr/>
        </p:nvSpPr>
        <p:spPr>
          <a:xfrm>
            <a:off x="566936" y="594603"/>
            <a:ext cx="3192433" cy="3280513"/>
          </a:xfrm>
          <a:prstGeom prst="rect">
            <a:avLst/>
          </a:prstGeom>
          <a:ln w="12700">
            <a:miter lim="400000"/>
          </a:ln>
          <a:extLst>
            <a:ext uri="{C572A759-6A51-4108-AA02-DFA0A04FC94B}">
              <ma14:wrappingTextBoxFlag xmlns="" xmlns:a16="http://schemas.microsoft.com/office/drawing/2014/main" xmlns:a14="http://schemas.microsoft.com/office/drawing/2010/main" xmlns:p14="http://schemas.microsoft.com/office/powerpoint/2010/main" xmlns:mc="http://schemas.openxmlformats.org/markup-compatibility/2006" xmlns:ma14="http://schemas.microsoft.com/office/mac/drawingml/2011/main" val="1"/>
            </a:ext>
          </a:extLst>
        </p:spPr>
        <p:txBody>
          <a:bodyPr wrap="square" lIns="0" tIns="0" rIns="0" bIns="0">
            <a:spAutoFit/>
          </a:bodyPr>
          <a:lstStyle>
            <a:defPPr>
              <a:defRPr lang="en-US"/>
            </a:defPPr>
            <a:lvl1pPr algn="ctr" defTabSz="412750" hangingPunct="0">
              <a:lnSpc>
                <a:spcPct val="150000"/>
              </a:lnSpc>
              <a:defRPr sz="1000" b="0" kern="0">
                <a:solidFill>
                  <a:schemeClr val="bg1"/>
                </a:solidFill>
                <a:latin typeface="+mj-ea"/>
                <a:ea typeface="+mj-ea"/>
                <a:cs typeface="+mn-ea"/>
              </a:defRPr>
            </a:lvl1pPr>
          </a:lstStyle>
          <a:p>
            <a:pPr algn="l"/>
            <a:r>
              <a:rPr lang="zh-CN" altLang="en-US" sz="1600" b="1" dirty="0">
                <a:sym typeface="+mn-lt"/>
              </a:rPr>
              <a:t>       整体上看，全区义务教育仍存在一些薄弱环节，教育教学质量有待进一步提升、实现区域义务教育优质均衡发展仍有较大压力，特别是资源配置不充分、城乡师资队伍不均衡等问题仍未得到根本解决，仍然满足不了老百姓日益增加的教育需求，“上好学”“就近上”仍是困扰人民群众的烦心事之一。</a:t>
            </a:r>
            <a:endParaRPr lang="en-US" altLang="zh-CN" sz="1600" b="1" dirty="0">
              <a:sym typeface="+mn-lt"/>
            </a:endParaRPr>
          </a:p>
        </p:txBody>
      </p:sp>
    </p:spTree>
    <p:extLst>
      <p:ext uri="{BB962C8B-B14F-4D97-AF65-F5344CB8AC3E}">
        <p14:creationId xmlns:p14="http://schemas.microsoft.com/office/powerpoint/2010/main" val="101934074"/>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 presetClass="entr" presetSubtype="4"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additive="base">
                                        <p:cTn id="22" dur="500" fill="hold"/>
                                        <p:tgtEl>
                                          <p:spTgt spid="16"/>
                                        </p:tgtEl>
                                        <p:attrNameLst>
                                          <p:attrName>ppt_x</p:attrName>
                                        </p:attrNameLst>
                                      </p:cBhvr>
                                      <p:tavLst>
                                        <p:tav tm="0">
                                          <p:val>
                                            <p:strVal val="#ppt_x"/>
                                          </p:val>
                                        </p:tav>
                                        <p:tav tm="100000">
                                          <p:val>
                                            <p:strVal val="#ppt_x"/>
                                          </p:val>
                                        </p:tav>
                                      </p:tavLst>
                                    </p:anim>
                                    <p:anim calcmode="lin" valueType="num">
                                      <p:cBhvr additive="base">
                                        <p:cTn id="23"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6" grpId="0" animBg="1"/>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51"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a:extLst>
              <a:ext uri="{FF2B5EF4-FFF2-40B4-BE49-F238E27FC236}">
                <a16:creationId xmlns:a16="http://schemas.microsoft.com/office/drawing/2014/main" id="{419943E5-C2EF-4133-ADC8-92BBFCBEF39F}"/>
              </a:ext>
            </a:extLst>
          </p:cNvPr>
          <p:cNvGrpSpPr/>
          <p:nvPr/>
        </p:nvGrpSpPr>
        <p:grpSpPr>
          <a:xfrm>
            <a:off x="6264922" y="1132238"/>
            <a:ext cx="4576180" cy="4593524"/>
            <a:chOff x="6540501" y="0"/>
            <a:chExt cx="4896342" cy="4914901"/>
          </a:xfrm>
        </p:grpSpPr>
        <p:sp>
          <p:nvSpPr>
            <p:cNvPr id="25" name="Rectangle: Rounded Corners 24">
              <a:extLst>
                <a:ext uri="{FF2B5EF4-FFF2-40B4-BE49-F238E27FC236}">
                  <a16:creationId xmlns:a16="http://schemas.microsoft.com/office/drawing/2014/main" id="{494E6301-EB23-4685-88EB-C44A54F0F7DD}"/>
                </a:ext>
              </a:extLst>
            </p:cNvPr>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a:extLst>
                <a:ext uri="{FF2B5EF4-FFF2-40B4-BE49-F238E27FC236}">
                  <a16:creationId xmlns:a16="http://schemas.microsoft.com/office/drawing/2014/main" id="{377C7E56-A503-4A1C-A558-116396C5E36E}"/>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6899651" y="0"/>
              <a:ext cx="4537192" cy="4622800"/>
            </a:xfrm>
            <a:prstGeom prst="rect">
              <a:avLst/>
            </a:prstGeom>
          </p:spPr>
        </p:pic>
      </p:gr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a:extLst>
              <a:ext uri="{FF2B5EF4-FFF2-40B4-BE49-F238E27FC236}">
                <a16:creationId xmlns:a16="http://schemas.microsoft.com/office/drawing/2014/main" id="{531409A3-BCA5-4112-983E-0B015B4FEC9B}"/>
              </a:ext>
            </a:extLst>
          </p:cNvPr>
          <p:cNvSpPr txBox="1"/>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二、工作目标</a:t>
            </a:r>
            <a:endParaRPr lang="en-US" altLang="zh-CN" sz="4400" b="1" u="sng" dirty="0">
              <a:solidFill>
                <a:srgbClr val="A43975"/>
              </a:solidFill>
              <a:cs typeface="+mn-ea"/>
              <a:sym typeface="+mn-lt"/>
            </a:endParaRPr>
          </a:p>
        </p:txBody>
      </p:sp>
      <p:sp>
        <p:nvSpPr>
          <p:cNvPr id="17" name="Title 1">
            <a:extLst>
              <a:ext uri="{FF2B5EF4-FFF2-40B4-BE49-F238E27FC236}">
                <a16:creationId xmlns:a16="http://schemas.microsoft.com/office/drawing/2014/main" id="{EA2F7233-5CF3-4BAA-9DB3-924685106EE7}"/>
              </a:ext>
            </a:extLst>
          </p:cNvPr>
          <p:cNvSpPr txBox="1">
            <a:spLocks/>
          </p:cNvSpPr>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p>
        </p:txBody>
      </p:sp>
      <p:sp>
        <p:nvSpPr>
          <p:cNvPr id="18" name="Synergistically utilize technically sound portals with frictionless chains. Dramatically customize…">
            <a:extLst>
              <a:ext uri="{FF2B5EF4-FFF2-40B4-BE49-F238E27FC236}">
                <a16:creationId xmlns:a16="http://schemas.microsoft.com/office/drawing/2014/main" id="{68328037-B8CC-4CFE-9C61-0B136E1EDB1B}"/>
              </a:ext>
            </a:extLst>
          </p:cNvPr>
          <p:cNvSpPr txBox="1"/>
          <p:nvPr/>
        </p:nvSpPr>
        <p:spPr>
          <a:xfrm>
            <a:off x="1039810" y="3420758"/>
            <a:ext cx="4145669" cy="2911182"/>
          </a:xfrm>
          <a:prstGeom prst="rect">
            <a:avLst/>
          </a:prstGeom>
          <a:ln w="12700">
            <a:miter lim="400000"/>
          </a:ln>
          <a:extLst>
            <a:ext uri="{C572A759-6A51-4108-AA02-DFA0A04FC94B}">
              <ma14:wrappingTextBoxFlag xmlns="" xmlns:a16="http://schemas.microsoft.com/office/drawing/2014/main" xmlns:mc="http://schemas.openxmlformats.org/markup-compatibility/2006" xmlns:v="urn:schemas-microsoft-com:vml" xmlns:a14="http://schemas.microsoft.com/office/drawing/2010/main" xmlns:p14="http://schemas.microsoft.com/office/powerpoint/2010/main" xmlns:ma14="http://schemas.microsoft.com/office/mac/drawingml/2011/main" val="1"/>
            </a:ext>
          </a:extLst>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pPr indent="457200" algn="just"/>
            <a:r>
              <a:rPr lang="zh-CN" altLang="en-US" sz="1600" dirty="0">
                <a:sym typeface="+mn-lt"/>
              </a:rPr>
              <a:t>深化教育教学改革，优化教育资源配置，全面提高义务教育质量，促进我区义务教育优质均衡发展，让每个孩子都能享有公平而有质量的教育。</a:t>
            </a:r>
            <a:endParaRPr lang="en-US" altLang="zh-CN" sz="1600" dirty="0">
              <a:sym typeface="+mn-lt"/>
            </a:endParaRPr>
          </a:p>
          <a:p>
            <a:pPr indent="457200" algn="just"/>
            <a:r>
              <a:rPr lang="zh-CN" altLang="en-US" sz="1600" dirty="0">
                <a:sym typeface="+mn-lt"/>
              </a:rPr>
              <a:t>到</a:t>
            </a:r>
            <a:r>
              <a:rPr lang="en-US" altLang="zh-CN" sz="1600" dirty="0">
                <a:sym typeface="+mn-lt"/>
              </a:rPr>
              <a:t>2022</a:t>
            </a:r>
            <a:r>
              <a:rPr lang="zh-CN" altLang="en-US" sz="1600" dirty="0">
                <a:sym typeface="+mn-lt"/>
              </a:rPr>
              <a:t>年，全区义务教育学校达到教育部</a:t>
            </a:r>
            <a:r>
              <a:rPr lang="en-US" altLang="zh-CN" sz="1600" dirty="0">
                <a:sym typeface="+mn-lt"/>
              </a:rPr>
              <a:t>《</a:t>
            </a:r>
            <a:r>
              <a:rPr lang="zh-CN" altLang="en-US" sz="1600" dirty="0">
                <a:sym typeface="+mn-lt"/>
              </a:rPr>
              <a:t>县域义务教育优质均衡发展督导评估办法</a:t>
            </a:r>
            <a:r>
              <a:rPr lang="en-US" altLang="zh-CN" sz="1600" dirty="0">
                <a:sym typeface="+mn-lt"/>
              </a:rPr>
              <a:t>》</a:t>
            </a:r>
            <a:r>
              <a:rPr lang="zh-CN" altLang="en-US" sz="1600" dirty="0">
                <a:sym typeface="+mn-lt"/>
              </a:rPr>
              <a:t>评估标准，确保通过县域义务教育优质均衡发展国家督导评估认定。</a:t>
            </a:r>
            <a:endParaRPr lang="en-US" altLang="zh-CN" sz="1600" dirty="0">
              <a:sym typeface="+mn-lt"/>
            </a:endParaRPr>
          </a:p>
        </p:txBody>
      </p:sp>
      <p:sp>
        <p:nvSpPr>
          <p:cNvPr id="19" name="Google Shape;13;p2">
            <a:extLst>
              <a:ext uri="{FF2B5EF4-FFF2-40B4-BE49-F238E27FC236}">
                <a16:creationId xmlns:a16="http://schemas.microsoft.com/office/drawing/2014/main" id="{509DD1A6-1FA7-493E-B44D-F8868C2102FE}"/>
              </a:ext>
            </a:extLst>
          </p:cNvPr>
          <p:cNvSpPr/>
          <p:nvPr/>
        </p:nvSpPr>
        <p:spPr>
          <a:xfrm rot="12770">
            <a:off x="628033" y="2574350"/>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20" name="Google Shape;14;p2">
            <a:extLst>
              <a:ext uri="{FF2B5EF4-FFF2-40B4-BE49-F238E27FC236}">
                <a16:creationId xmlns:a16="http://schemas.microsoft.com/office/drawing/2014/main" id="{9FDDE0E7-DC25-48CF-AAB3-D30CE6AB5B87}"/>
              </a:ext>
            </a:extLst>
          </p:cNvPr>
          <p:cNvSpPr/>
          <p:nvPr/>
        </p:nvSpPr>
        <p:spPr>
          <a:xfrm rot="12770">
            <a:off x="1050772" y="2255542"/>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2239585180"/>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18">
                                            <p:bg/>
                                          </p:spTgt>
                                        </p:tgtEl>
                                        <p:attrNameLst>
                                          <p:attrName>style.visibility</p:attrName>
                                        </p:attrNameLst>
                                      </p:cBhvr>
                                      <p:to>
                                        <p:strVal val="visible"/>
                                      </p:to>
                                    </p:set>
                                    <p:animEffect transition="in" filter="fade">
                                      <p:cBhvr>
                                        <p:cTn id="19" dur="1000"/>
                                        <p:tgtEl>
                                          <p:spTgt spid="18">
                                            <p:bg/>
                                          </p:spTgt>
                                        </p:tgtEl>
                                      </p:cBhvr>
                                    </p:animEffect>
                                    <p:anim calcmode="lin" valueType="num">
                                      <p:cBhvr>
                                        <p:cTn id="20" dur="1000" fill="hold"/>
                                        <p:tgtEl>
                                          <p:spTgt spid="18">
                                            <p:bg/>
                                          </p:spTgt>
                                        </p:tgtEl>
                                        <p:attrNameLst>
                                          <p:attrName>ppt_x</p:attrName>
                                        </p:attrNameLst>
                                      </p:cBhvr>
                                      <p:tavLst>
                                        <p:tav tm="0">
                                          <p:val>
                                            <p:strVal val="#ppt_x"/>
                                          </p:val>
                                        </p:tav>
                                        <p:tav tm="100000">
                                          <p:val>
                                            <p:strVal val="#ppt_x"/>
                                          </p:val>
                                        </p:tav>
                                      </p:tavLst>
                                    </p:anim>
                                    <p:anim calcmode="lin" valueType="num">
                                      <p:cBhvr>
                                        <p:cTn id="21" dur="1000" fill="hold"/>
                                        <p:tgtEl>
                                          <p:spTgt spid="18">
                                            <p:bg/>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18">
                                            <p:txEl>
                                              <p:pRg st="0" end="0"/>
                                            </p:txEl>
                                          </p:spTgt>
                                        </p:tgtEl>
                                        <p:attrNameLst>
                                          <p:attrName>style.visibility</p:attrName>
                                        </p:attrNameLst>
                                      </p:cBhvr>
                                      <p:to>
                                        <p:strVal val="visible"/>
                                      </p:to>
                                    </p:set>
                                    <p:animEffect transition="in" filter="fade">
                                      <p:cBhvr>
                                        <p:cTn id="26" dur="1000"/>
                                        <p:tgtEl>
                                          <p:spTgt spid="18">
                                            <p:txEl>
                                              <p:pRg st="0" end="0"/>
                                            </p:txEl>
                                          </p:spTgt>
                                        </p:tgtEl>
                                      </p:cBhvr>
                                    </p:animEffect>
                                    <p:anim calcmode="lin" valueType="num">
                                      <p:cBhvr>
                                        <p:cTn id="27"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28" dur="1000" fill="hold"/>
                                        <p:tgtEl>
                                          <p:spTgt spid="18">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18">
                                            <p:txEl>
                                              <p:pRg st="1" end="1"/>
                                            </p:txEl>
                                          </p:spTgt>
                                        </p:tgtEl>
                                        <p:attrNameLst>
                                          <p:attrName>style.visibility</p:attrName>
                                        </p:attrNameLst>
                                      </p:cBhvr>
                                      <p:to>
                                        <p:strVal val="visible"/>
                                      </p:to>
                                    </p:set>
                                    <p:animEffect transition="in" filter="fade">
                                      <p:cBhvr>
                                        <p:cTn id="33" dur="1000"/>
                                        <p:tgtEl>
                                          <p:spTgt spid="18">
                                            <p:txEl>
                                              <p:pRg st="1" end="1"/>
                                            </p:txEl>
                                          </p:spTgt>
                                        </p:tgtEl>
                                      </p:cBhvr>
                                    </p:animEffect>
                                    <p:anim calcmode="lin" valueType="num">
                                      <p:cBhvr>
                                        <p:cTn id="34" dur="1000" fill="hold"/>
                                        <p:tgtEl>
                                          <p:spTgt spid="18">
                                            <p:txEl>
                                              <p:pRg st="1" end="1"/>
                                            </p:txEl>
                                          </p:spTgt>
                                        </p:tgtEl>
                                        <p:attrNameLst>
                                          <p:attrName>ppt_x</p:attrName>
                                        </p:attrNameLst>
                                      </p:cBhvr>
                                      <p:tavLst>
                                        <p:tav tm="0">
                                          <p:val>
                                            <p:strVal val="#ppt_x"/>
                                          </p:val>
                                        </p:tav>
                                        <p:tav tm="100000">
                                          <p:val>
                                            <p:strVal val="#ppt_x"/>
                                          </p:val>
                                        </p:tav>
                                      </p:tavLst>
                                    </p:anim>
                                    <p:anim calcmode="lin" valueType="num">
                                      <p:cBhvr>
                                        <p:cTn id="35" dur="1000" fill="hold"/>
                                        <p:tgtEl>
                                          <p:spTgt spid="1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build="p" animBg="1"/>
      <p:bldP spid="19" grpId="0" animBg="1"/>
      <p:bldP spid="2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526FF6-93C0-4668-ABD6-DCA4644EF04B}"/>
              </a:ext>
            </a:extLst>
          </p:cNvPr>
          <p:cNvGraphicFramePr>
            <a:graphicFrameLocks noChangeAspect="1"/>
          </p:cNvGraphicFramePr>
          <p:nvPr>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F3526FF6-93C0-4668-ABD6-DCA4644EF04B}"/>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19A566D-18C1-4C6E-9C31-C3ACFBB7A3B5}"/>
              </a:ext>
            </a:extLst>
          </p:cNvPr>
          <p:cNvSpPr/>
          <p:nvPr>
            <p:custDataLst>
              <p:tags r:id="rId3"/>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a:extLst>
              <a:ext uri="{FF2B5EF4-FFF2-40B4-BE49-F238E27FC236}">
                <a16:creationId xmlns:a16="http://schemas.microsoft.com/office/drawing/2014/main" id="{419943E5-C2EF-4133-ADC8-92BBFCBEF39F}"/>
              </a:ext>
            </a:extLst>
          </p:cNvPr>
          <p:cNvGrpSpPr/>
          <p:nvPr/>
        </p:nvGrpSpPr>
        <p:grpSpPr>
          <a:xfrm>
            <a:off x="6264922" y="1132238"/>
            <a:ext cx="4576180" cy="4593524"/>
            <a:chOff x="6540501" y="0"/>
            <a:chExt cx="4896342" cy="4914901"/>
          </a:xfrm>
        </p:grpSpPr>
        <p:sp>
          <p:nvSpPr>
            <p:cNvPr id="25" name="Rectangle: Rounded Corners 24">
              <a:extLst>
                <a:ext uri="{FF2B5EF4-FFF2-40B4-BE49-F238E27FC236}">
                  <a16:creationId xmlns:a16="http://schemas.microsoft.com/office/drawing/2014/main" id="{494E6301-EB23-4685-88EB-C44A54F0F7DD}"/>
                </a:ext>
              </a:extLst>
            </p:cNvPr>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a:extLst>
                <a:ext uri="{FF2B5EF4-FFF2-40B4-BE49-F238E27FC236}">
                  <a16:creationId xmlns:a16="http://schemas.microsoft.com/office/drawing/2014/main" id="{377C7E56-A503-4A1C-A558-116396C5E36E}"/>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a:off x="6899651" y="0"/>
              <a:ext cx="4537192" cy="4622800"/>
            </a:xfrm>
            <a:prstGeom prst="rect">
              <a:avLst/>
            </a:prstGeom>
          </p:spPr>
        </p:pic>
      </p:grpSp>
      <p:sp>
        <p:nvSpPr>
          <p:cNvPr id="81" name="Freeform 23">
            <a:extLst>
              <a:ext uri="{FF2B5EF4-FFF2-40B4-BE49-F238E27FC236}">
                <a16:creationId xmlns:a16="http://schemas.microsoft.com/office/drawing/2014/main" id="{00561965-09F3-4742-8DEB-4E17691D8AF9}"/>
              </a:ext>
            </a:extLst>
          </p:cNvPr>
          <p:cNvSpPr>
            <a:spLocks noEditPoints="1"/>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a:extLst>
              <a:ext uri="{FF2B5EF4-FFF2-40B4-BE49-F238E27FC236}">
                <a16:creationId xmlns:a16="http://schemas.microsoft.com/office/drawing/2014/main" id="{95E76223-C7DF-44AE-AF5C-211291AB60BA}"/>
              </a:ext>
            </a:extLst>
          </p:cNvPr>
          <p:cNvSpPr/>
          <p:nvPr/>
        </p:nvSpPr>
        <p:spPr>
          <a:xfrm flipH="1" flipV="1">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 fmla="*/ 137886 w 1240972"/>
              <a:gd name="connsiteY0" fmla="*/ 0 h 1240972"/>
              <a:gd name="connsiteX1" fmla="*/ 1240972 w 1240972"/>
              <a:gd name="connsiteY1" fmla="*/ 0 h 1240972"/>
              <a:gd name="connsiteX2" fmla="*/ 1240972 w 1240972"/>
              <a:gd name="connsiteY2" fmla="*/ 1103086 h 1240972"/>
              <a:gd name="connsiteX3" fmla="*/ 137886 w 1240972"/>
              <a:gd name="connsiteY3" fmla="*/ 1103086 h 1240972"/>
              <a:gd name="connsiteX4" fmla="*/ 137886 w 1240972"/>
              <a:gd name="connsiteY4" fmla="*/ 0 h 1240972"/>
              <a:gd name="connsiteX0" fmla="*/ 12000 w 3491810"/>
              <a:gd name="connsiteY0" fmla="*/ 0 h 1270003"/>
              <a:gd name="connsiteX1" fmla="*/ 3491810 w 3491810"/>
              <a:gd name="connsiteY1" fmla="*/ 27319 h 1270003"/>
              <a:gd name="connsiteX2" fmla="*/ 3491810 w 3491810"/>
              <a:gd name="connsiteY2" fmla="*/ 1130405 h 1270003"/>
              <a:gd name="connsiteX3" fmla="*/ 2388724 w 3491810"/>
              <a:gd name="connsiteY3" fmla="*/ 1130405 h 1270003"/>
              <a:gd name="connsiteX4" fmla="*/ 12000 w 3491810"/>
              <a:gd name="connsiteY4" fmla="*/ 0 h 1270003"/>
              <a:gd name="connsiteX0" fmla="*/ 13165 w 3492975"/>
              <a:gd name="connsiteY0" fmla="*/ 0 h 1177369"/>
              <a:gd name="connsiteX1" fmla="*/ 3492975 w 3492975"/>
              <a:gd name="connsiteY1" fmla="*/ 27319 h 1177369"/>
              <a:gd name="connsiteX2" fmla="*/ 3492975 w 3492975"/>
              <a:gd name="connsiteY2" fmla="*/ 1130405 h 1177369"/>
              <a:gd name="connsiteX3" fmla="*/ 2389889 w 3492975"/>
              <a:gd name="connsiteY3" fmla="*/ 1130405 h 1177369"/>
              <a:gd name="connsiteX4" fmla="*/ 13165 w 3492975"/>
              <a:gd name="connsiteY4" fmla="*/ 0 h 1177369"/>
              <a:gd name="connsiteX0" fmla="*/ 14604 w 3494414"/>
              <a:gd name="connsiteY0" fmla="*/ 0 h 1164219"/>
              <a:gd name="connsiteX1" fmla="*/ 3494414 w 3494414"/>
              <a:gd name="connsiteY1" fmla="*/ 27319 h 1164219"/>
              <a:gd name="connsiteX2" fmla="*/ 3494414 w 3494414"/>
              <a:gd name="connsiteY2" fmla="*/ 1130405 h 1164219"/>
              <a:gd name="connsiteX3" fmla="*/ 2200097 w 3494414"/>
              <a:gd name="connsiteY3" fmla="*/ 925515 h 1164219"/>
              <a:gd name="connsiteX4" fmla="*/ 14604 w 3494414"/>
              <a:gd name="connsiteY4" fmla="*/ 0 h 1164219"/>
              <a:gd name="connsiteX0" fmla="*/ 20077 w 3499887"/>
              <a:gd name="connsiteY0" fmla="*/ 0 h 1177231"/>
              <a:gd name="connsiteX1" fmla="*/ 3499887 w 3499887"/>
              <a:gd name="connsiteY1" fmla="*/ 27319 h 1177231"/>
              <a:gd name="connsiteX2" fmla="*/ 3499887 w 3499887"/>
              <a:gd name="connsiteY2" fmla="*/ 1130405 h 1177231"/>
              <a:gd name="connsiteX3" fmla="*/ 2205570 w 3499887"/>
              <a:gd name="connsiteY3" fmla="*/ 925515 h 1177231"/>
              <a:gd name="connsiteX4" fmla="*/ 20077 w 3499887"/>
              <a:gd name="connsiteY4" fmla="*/ 0 h 1177231"/>
              <a:gd name="connsiteX0" fmla="*/ 20077 w 3499887"/>
              <a:gd name="connsiteY0" fmla="*/ 0 h 1167056"/>
              <a:gd name="connsiteX1" fmla="*/ 3499887 w 3499887"/>
              <a:gd name="connsiteY1" fmla="*/ 27319 h 1167056"/>
              <a:gd name="connsiteX2" fmla="*/ 3499887 w 3499887"/>
              <a:gd name="connsiteY2" fmla="*/ 1130405 h 1167056"/>
              <a:gd name="connsiteX3" fmla="*/ 2205570 w 3499887"/>
              <a:gd name="connsiteY3" fmla="*/ 775263 h 1167056"/>
              <a:gd name="connsiteX4" fmla="*/ 20077 w 3499887"/>
              <a:gd name="connsiteY4" fmla="*/ 0 h 1167056"/>
              <a:gd name="connsiteX0" fmla="*/ 20077 w 3499887"/>
              <a:gd name="connsiteY0" fmla="*/ 0 h 1207779"/>
              <a:gd name="connsiteX1" fmla="*/ 3499887 w 3499887"/>
              <a:gd name="connsiteY1" fmla="*/ 27319 h 1207779"/>
              <a:gd name="connsiteX2" fmla="*/ 3499887 w 3499887"/>
              <a:gd name="connsiteY2" fmla="*/ 1130405 h 1207779"/>
              <a:gd name="connsiteX3" fmla="*/ 2205570 w 3499887"/>
              <a:gd name="connsiteY3" fmla="*/ 775263 h 1207779"/>
              <a:gd name="connsiteX4" fmla="*/ 20077 w 3499887"/>
              <a:gd name="connsiteY4" fmla="*/ 0 h 1207779"/>
              <a:gd name="connsiteX0" fmla="*/ 20077 w 3499887"/>
              <a:gd name="connsiteY0" fmla="*/ 0 h 1207779"/>
              <a:gd name="connsiteX1" fmla="*/ 3499887 w 3499887"/>
              <a:gd name="connsiteY1" fmla="*/ 4553 h 1207779"/>
              <a:gd name="connsiteX2" fmla="*/ 3499887 w 3499887"/>
              <a:gd name="connsiteY2" fmla="*/ 1130405 h 1207779"/>
              <a:gd name="connsiteX3" fmla="*/ 2205570 w 3499887"/>
              <a:gd name="connsiteY3" fmla="*/ 775263 h 1207779"/>
              <a:gd name="connsiteX4" fmla="*/ 20077 w 3499887"/>
              <a:gd name="connsiteY4" fmla="*/ 0 h 1207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a:extLst>
              <a:ext uri="{FF2B5EF4-FFF2-40B4-BE49-F238E27FC236}">
                <a16:creationId xmlns:a16="http://schemas.microsoft.com/office/drawing/2014/main" id="{25F1B77B-10A7-4E8F-9055-169B8B309C00}"/>
              </a:ext>
            </a:extLst>
          </p:cNvPr>
          <p:cNvSpPr>
            <a:spLocks noGrp="1"/>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a:extLst>
              <a:ext uri="{FF2B5EF4-FFF2-40B4-BE49-F238E27FC236}">
                <a16:creationId xmlns:a16="http://schemas.microsoft.com/office/drawing/2014/main" id="{531409A3-BCA5-4112-983E-0B015B4FEC9B}"/>
              </a:ext>
            </a:extLst>
          </p:cNvPr>
          <p:cNvSpPr txBox="1"/>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三、主要任务</a:t>
            </a:r>
            <a:endParaRPr lang="en-US" altLang="zh-CN" sz="4400" b="1" u="sng" dirty="0">
              <a:solidFill>
                <a:srgbClr val="A43975"/>
              </a:solidFill>
              <a:cs typeface="+mn-ea"/>
              <a:sym typeface="+mn-lt"/>
            </a:endParaRPr>
          </a:p>
        </p:txBody>
      </p:sp>
      <p:sp>
        <p:nvSpPr>
          <p:cNvPr id="17" name="Title 1">
            <a:extLst>
              <a:ext uri="{FF2B5EF4-FFF2-40B4-BE49-F238E27FC236}">
                <a16:creationId xmlns:a16="http://schemas.microsoft.com/office/drawing/2014/main" id="{EA2F7233-5CF3-4BAA-9DB3-924685106EE7}"/>
              </a:ext>
            </a:extLst>
          </p:cNvPr>
          <p:cNvSpPr txBox="1">
            <a:spLocks/>
          </p:cNvSpPr>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p>
        </p:txBody>
      </p:sp>
      <p:sp>
        <p:nvSpPr>
          <p:cNvPr id="19" name="Google Shape;13;p2">
            <a:extLst>
              <a:ext uri="{FF2B5EF4-FFF2-40B4-BE49-F238E27FC236}">
                <a16:creationId xmlns:a16="http://schemas.microsoft.com/office/drawing/2014/main" id="{509DD1A6-1FA7-493E-B44D-F8868C2102FE}"/>
              </a:ext>
            </a:extLst>
          </p:cNvPr>
          <p:cNvSpPr/>
          <p:nvPr/>
        </p:nvSpPr>
        <p:spPr>
          <a:xfrm rot="12770">
            <a:off x="628033" y="2574350"/>
            <a:ext cx="411039" cy="397729"/>
          </a:xfrm>
          <a:custGeom>
            <a:avLst/>
            <a:gdLst/>
            <a:ahLst/>
            <a:cxnLst/>
            <a:rect l="l" t="t" r="r" b="b"/>
            <a:pathLst>
              <a:path w="8725" h="8725" extrusionOk="0">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dirty="0">
              <a:solidFill>
                <a:prstClr val="white"/>
              </a:solidFill>
              <a:cs typeface="+mn-ea"/>
              <a:sym typeface="+mn-lt"/>
            </a:endParaRPr>
          </a:p>
        </p:txBody>
      </p:sp>
      <p:sp>
        <p:nvSpPr>
          <p:cNvPr id="20" name="Google Shape;14;p2">
            <a:extLst>
              <a:ext uri="{FF2B5EF4-FFF2-40B4-BE49-F238E27FC236}">
                <a16:creationId xmlns:a16="http://schemas.microsoft.com/office/drawing/2014/main" id="{9FDDE0E7-DC25-48CF-AAB3-D30CE6AB5B87}"/>
              </a:ext>
            </a:extLst>
          </p:cNvPr>
          <p:cNvSpPr/>
          <p:nvPr/>
        </p:nvSpPr>
        <p:spPr>
          <a:xfrm rot="12770">
            <a:off x="1050772" y="2255542"/>
            <a:ext cx="181893" cy="176004"/>
          </a:xfrm>
          <a:custGeom>
            <a:avLst/>
            <a:gdLst/>
            <a:ahLst/>
            <a:cxnLst/>
            <a:rect l="l" t="t" r="r" b="b"/>
            <a:pathLst>
              <a:path w="3861" h="3861" extrusionOk="0">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a:solidFill>
                <a:prstClr val="white"/>
              </a:solidFill>
              <a:cs typeface="+mn-ea"/>
              <a:sym typeface="+mn-lt"/>
            </a:endParaRPr>
          </a:p>
        </p:txBody>
      </p:sp>
    </p:spTree>
    <p:extLst>
      <p:ext uri="{BB962C8B-B14F-4D97-AF65-F5344CB8AC3E}">
        <p14:creationId xmlns:p14="http://schemas.microsoft.com/office/powerpoint/2010/main" val="2437793400"/>
      </p:ext>
    </p:extLst>
  </p:cSld>
  <p:clrMapOvr>
    <a:masterClrMapping/>
  </p:clrMapOvr>
  <mc:AlternateContent xmlns:mc="http://schemas.openxmlformats.org/markup-compatibility/2006">
    <mc:Choice xmlns:p14="http://schemas.microsoft.com/office/powerpoint/2010/main" Requires="p14">
      <p:transition spd="slow" p14:dur="1600" advTm="0">
        <p14:prism isInverted="1"/>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vYtTqbzdNWEvagXRU7H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vgZw2iL.2yQ.KwK62gA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crGeVB2J0.11dNmX_wK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KRBZtSHR3OuSJzhCtKm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第一PPT，www.1ppt.com">
  <a:themeElements>
    <a:clrScheme name="Custom 30">
      <a:dk1>
        <a:sysClr val="windowText" lastClr="000000"/>
      </a:dk1>
      <a:lt1>
        <a:sysClr val="window" lastClr="FFFFFF"/>
      </a:lt1>
      <a:dk2>
        <a:srgbClr val="44546A"/>
      </a:dk2>
      <a:lt2>
        <a:srgbClr val="E7E6E6"/>
      </a:lt2>
      <a:accent1>
        <a:srgbClr val="652D74"/>
      </a:accent1>
      <a:accent2>
        <a:srgbClr val="A53975"/>
      </a:accent2>
      <a:accent3>
        <a:srgbClr val="1F8492"/>
      </a:accent3>
      <a:accent4>
        <a:srgbClr val="DBCBD8"/>
      </a:accent4>
      <a:accent5>
        <a:srgbClr val="564787"/>
      </a:accent5>
      <a:accent6>
        <a:srgbClr val="70AD47"/>
      </a:accent6>
      <a:hlink>
        <a:srgbClr val="0563C1"/>
      </a:hlink>
      <a:folHlink>
        <a:srgbClr val="954F72"/>
      </a:folHlink>
    </a:clrScheme>
    <a:fontScheme name="vbid4ljk">
      <a:majorFont>
        <a:latin typeface="微软雅黑" panose="020F0502020204030204"/>
        <a:ea typeface="微软雅黑"/>
        <a:cs typeface=""/>
      </a:majorFont>
      <a:minorFont>
        <a:latin typeface="微软雅黑" panose="020F0502020204030204"/>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4</TotalTime>
  <Words>631</Words>
  <Application>Microsoft Office PowerPoint</Application>
  <PresentationFormat>宽屏</PresentationFormat>
  <Paragraphs>93</Paragraphs>
  <Slides>13</Slides>
  <Notes>13</Notes>
  <HiddenSlides>0</HiddenSlides>
  <MMClips>0</MMClips>
  <ScaleCrop>false</ScaleCrop>
  <HeadingPairs>
    <vt:vector size="8" baseType="variant">
      <vt:variant>
        <vt:lpstr>已用的字体</vt:lpstr>
      </vt:variant>
      <vt:variant>
        <vt:i4>6</vt:i4>
      </vt:variant>
      <vt:variant>
        <vt:lpstr>主题</vt:lpstr>
      </vt:variant>
      <vt:variant>
        <vt:i4>2</vt:i4>
      </vt:variant>
      <vt:variant>
        <vt:lpstr>嵌入 OLE 服务器</vt:lpstr>
      </vt:variant>
      <vt:variant>
        <vt:i4>1</vt:i4>
      </vt:variant>
      <vt:variant>
        <vt:lpstr>幻灯片标题</vt:lpstr>
      </vt:variant>
      <vt:variant>
        <vt:i4>13</vt:i4>
      </vt:variant>
    </vt:vector>
  </HeadingPairs>
  <TitlesOfParts>
    <vt:vector size="22" baseType="lpstr">
      <vt:lpstr>等线</vt:lpstr>
      <vt:lpstr>华文中宋</vt:lpstr>
      <vt:lpstr>微软雅黑</vt:lpstr>
      <vt:lpstr>Arial</vt:lpstr>
      <vt:lpstr>Calibri</vt:lpstr>
      <vt:lpstr>Roboto Bold</vt:lpstr>
      <vt:lpstr>第一PPT，www.1ppt.com</vt:lpstr>
      <vt:lpstr>自定义设计方案</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第一PPT</Manager>
  <Company>第一PPT，www.1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紫色渐变商务</dc:title>
  <dc:creator>第一PPT</dc:creator>
  <cp:keywords>www.1ppt.com</cp:keywords>
  <dc:description>www.1ppt.com</dc:description>
  <cp:lastModifiedBy>bhzx lj</cp:lastModifiedBy>
  <cp:revision>267</cp:revision>
  <dcterms:created xsi:type="dcterms:W3CDTF">2019-03-29T12:25:33Z</dcterms:created>
  <dcterms:modified xsi:type="dcterms:W3CDTF">2021-10-29T14:14:18Z</dcterms:modified>
</cp:coreProperties>
</file>